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80" r:id="rId5"/>
  </p:sldMasterIdLst>
  <p:notesMasterIdLst>
    <p:notesMasterId r:id="rId16"/>
  </p:notesMasterIdLst>
  <p:sldIdLst>
    <p:sldId id="282" r:id="rId6"/>
    <p:sldId id="356" r:id="rId7"/>
    <p:sldId id="347" r:id="rId8"/>
    <p:sldId id="341" r:id="rId9"/>
    <p:sldId id="338" r:id="rId10"/>
    <p:sldId id="349" r:id="rId11"/>
    <p:sldId id="350" r:id="rId12"/>
    <p:sldId id="353" r:id="rId13"/>
    <p:sldId id="354" r:id="rId14"/>
    <p:sldId id="264" r:id="rId15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CFE1"/>
    <a:srgbClr val="6F8DB9"/>
    <a:srgbClr val="4C6C9C"/>
    <a:srgbClr val="8064A2"/>
    <a:srgbClr val="9BBB59"/>
    <a:srgbClr val="F79646"/>
    <a:srgbClr val="4BACC6"/>
    <a:srgbClr val="969696"/>
    <a:srgbClr val="C0504D"/>
    <a:srgbClr val="0000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096" autoAdjust="0"/>
    <p:restoredTop sz="94665"/>
  </p:normalViewPr>
  <p:slideViewPr>
    <p:cSldViewPr snapToGrid="0" snapToObjects="1">
      <p:cViewPr varScale="1">
        <p:scale>
          <a:sx n="142" d="100"/>
          <a:sy n="142" d="100"/>
        </p:scale>
        <p:origin x="306" y="10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{Sales channel value M!B1}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DD7-4329-B0ED-6A04B5DD93BE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D$2:$D$18</c:f>
              <c:numCache>
                <c:formatCode>0.0_);[Red]\(0.0\)</c:formatCode>
                <c:ptCount val="17"/>
                <c:pt idx="0">
                  <c:v>13.02761108792663</c:v>
                </c:pt>
                <c:pt idx="1">
                  <c:v>12.252367141718491</c:v>
                </c:pt>
                <c:pt idx="3">
                  <c:v>11.679392135192259</c:v>
                </c:pt>
                <c:pt idx="4">
                  <c:v>12.325375629437589</c:v>
                </c:pt>
                <c:pt idx="6">
                  <c:v>10.536553837324</c:v>
                </c:pt>
                <c:pt idx="7">
                  <c:v>11.738111256314999</c:v>
                </c:pt>
                <c:pt idx="10">
                  <c:v>11.738111256314999</c:v>
                </c:pt>
                <c:pt idx="12">
                  <c:v>14.10871539966468</c:v>
                </c:pt>
                <c:pt idx="13">
                  <c:v>14.602598545676649</c:v>
                </c:pt>
                <c:pt idx="16">
                  <c:v>11.42073856570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7-4329-B0ED-6A04B5DD9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{Sales channel value M!C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C$2:$C$18</c:f>
              <c:numCache>
                <c:formatCode>0.0_);[Red]\(0.0\)</c:formatCode>
                <c:ptCount val="17"/>
                <c:pt idx="0">
                  <c:v>24.699351526268192</c:v>
                </c:pt>
                <c:pt idx="1">
                  <c:v>20.67960339466882</c:v>
                </c:pt>
                <c:pt idx="3">
                  <c:v>21.320920842372129</c:v>
                </c:pt>
                <c:pt idx="4">
                  <c:v>20.186051127706669</c:v>
                </c:pt>
                <c:pt idx="6">
                  <c:v>22.522119680687521</c:v>
                </c:pt>
                <c:pt idx="7">
                  <c:v>21.551200592778141</c:v>
                </c:pt>
                <c:pt idx="10">
                  <c:v>21.551200592778141</c:v>
                </c:pt>
                <c:pt idx="12">
                  <c:v>18.767540990979342</c:v>
                </c:pt>
                <c:pt idx="13">
                  <c:v>14.184801789266039</c:v>
                </c:pt>
                <c:pt idx="16">
                  <c:v>38.453682749203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D7-4329-B0ED-6A04B5DD93BE}"/>
            </c:ext>
          </c:extLst>
        </c:ser>
        <c:ser>
          <c:idx val="2"/>
          <c:order val="2"/>
          <c:tx>
            <c:strRef>
              <c:f>Sheet1!$B$1</c:f>
              <c:strCache>
                <c:ptCount val="1"/>
                <c:pt idx="0">
                  <c:v>{Sales channel value M!D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DD7-4329-B0ED-6A04B5DD93BE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B$2:$B$18</c:f>
              <c:numCache>
                <c:formatCode>0.0_);[Red]\(0.0\)</c:formatCode>
                <c:ptCount val="17"/>
                <c:pt idx="0">
                  <c:v>62.273037385805139</c:v>
                </c:pt>
                <c:pt idx="1">
                  <c:v>67.068029463612703</c:v>
                </c:pt>
                <c:pt idx="3">
                  <c:v>66.999687022435609</c:v>
                </c:pt>
                <c:pt idx="4">
                  <c:v>67.488573242855736</c:v>
                </c:pt>
                <c:pt idx="6">
                  <c:v>66.941326481988455</c:v>
                </c:pt>
                <c:pt idx="7">
                  <c:v>66.710688150906847</c:v>
                </c:pt>
                <c:pt idx="10">
                  <c:v>66.710688150906847</c:v>
                </c:pt>
                <c:pt idx="12">
                  <c:v>67.123743609355984</c:v>
                </c:pt>
                <c:pt idx="13">
                  <c:v>71.212599665057311</c:v>
                </c:pt>
                <c:pt idx="16">
                  <c:v>50.125578685093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D7-4329-B0ED-6A04B5DD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0.0_);[Red]\(0.0\)" sourceLinked="1"/>
        <c:majorTickMark val="out"/>
        <c:minorTickMark val="none"/>
        <c:tickLblPos val="nextTo"/>
        <c:crossAx val="62066080"/>
        <c:crosses val="min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{Sales channel volume!B1}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550-4953-AB85-F83F941B5040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D$2:$D$18</c:f>
              <c:numCache>
                <c:formatCode>0.0_);[Red]\(0.0\)</c:formatCode>
                <c:ptCount val="17"/>
                <c:pt idx="0">
                  <c:v>13.438990475914499</c:v>
                </c:pt>
                <c:pt idx="1">
                  <c:v>12.720577890131469</c:v>
                </c:pt>
                <c:pt idx="3">
                  <c:v>11.54671140446133</c:v>
                </c:pt>
                <c:pt idx="4">
                  <c:v>12.430254814353651</c:v>
                </c:pt>
                <c:pt idx="6">
                  <c:v>10.102957074680781</c:v>
                </c:pt>
                <c:pt idx="7">
                  <c:v>11.412301609495209</c:v>
                </c:pt>
                <c:pt idx="10">
                  <c:v>11.412301609495209</c:v>
                </c:pt>
                <c:pt idx="12">
                  <c:v>12.74886909559878</c:v>
                </c:pt>
                <c:pt idx="13">
                  <c:v>14.08069598369825</c:v>
                </c:pt>
                <c:pt idx="16">
                  <c:v>11.811789258991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50-4953-AB85-F83F941B50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{Sales channel volume!C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C$2:$C$18</c:f>
              <c:numCache>
                <c:formatCode>0.0_);[Red]\(0.0\)</c:formatCode>
                <c:ptCount val="17"/>
                <c:pt idx="0">
                  <c:v>25.645734529752609</c:v>
                </c:pt>
                <c:pt idx="1">
                  <c:v>20.679173055704432</c:v>
                </c:pt>
                <c:pt idx="3">
                  <c:v>21.033234254096179</c:v>
                </c:pt>
                <c:pt idx="4">
                  <c:v>18.402973745075329</c:v>
                </c:pt>
                <c:pt idx="6">
                  <c:v>22.763292402569078</c:v>
                </c:pt>
                <c:pt idx="7">
                  <c:v>21.019364402490559</c:v>
                </c:pt>
                <c:pt idx="10">
                  <c:v>21.019364402490559</c:v>
                </c:pt>
                <c:pt idx="12">
                  <c:v>19.592682585158251</c:v>
                </c:pt>
                <c:pt idx="13">
                  <c:v>13.653263884751169</c:v>
                </c:pt>
                <c:pt idx="16">
                  <c:v>37.016834457870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50-4953-AB85-F83F941B5040}"/>
            </c:ext>
          </c:extLst>
        </c:ser>
        <c:ser>
          <c:idx val="2"/>
          <c:order val="2"/>
          <c:tx>
            <c:strRef>
              <c:f>Sheet1!$B$1</c:f>
              <c:strCache>
                <c:ptCount val="1"/>
                <c:pt idx="0">
                  <c:v>{Sales channel volume!D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50-4953-AB85-F83F941B5040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B$2:$B$18</c:f>
              <c:numCache>
                <c:formatCode>0.0_);[Red]\(0.0\)</c:formatCode>
                <c:ptCount val="17"/>
                <c:pt idx="0">
                  <c:v>60.915274994332869</c:v>
                </c:pt>
                <c:pt idx="1">
                  <c:v>66.600249054164081</c:v>
                </c:pt>
                <c:pt idx="3">
                  <c:v>67.420054341442494</c:v>
                </c:pt>
                <c:pt idx="4">
                  <c:v>69.166771440571026</c:v>
                </c:pt>
                <c:pt idx="6">
                  <c:v>67.133750522750134</c:v>
                </c:pt>
                <c:pt idx="7">
                  <c:v>67.568333988014246</c:v>
                </c:pt>
                <c:pt idx="10">
                  <c:v>67.568333988014246</c:v>
                </c:pt>
                <c:pt idx="12">
                  <c:v>67.658448319242964</c:v>
                </c:pt>
                <c:pt idx="13">
                  <c:v>72.266040131550582</c:v>
                </c:pt>
                <c:pt idx="16">
                  <c:v>51.171376283138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0-4953-AB85-F83F941B50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0.0_);[Red]\(0.0\)" sourceLinked="1"/>
        <c:majorTickMark val="out"/>
        <c:minorTickMark val="none"/>
        <c:tickLblPos val="nextTo"/>
        <c:crossAx val="6206608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F$1</c:f>
              <c:strCache>
                <c:ptCount val="1"/>
                <c:pt idx="0">
                  <c:v>{价格段1!B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Feb22</c:v>
                </c:pt>
                <c:pt idx="1">
                  <c:v>MAT Feb23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19.268060236610371</c:v>
                </c:pt>
                <c:pt idx="1">
                  <c:v>16.254153579106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53-4392-9CBA-C7BF11584867}"/>
            </c:ext>
          </c:extLst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{价格段1!C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Feb22</c:v>
                </c:pt>
                <c:pt idx="1">
                  <c:v>MAT Feb23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20.02005514586131</c:v>
                </c:pt>
                <c:pt idx="1">
                  <c:v>18.326188559042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53-4392-9CBA-C7BF1158486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{价格段1!D1}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680-4E46-94EE-74AB127818FC}"/>
                </c:ext>
              </c:extLst>
            </c:dLbl>
            <c:numFmt formatCode="#,##0.0&quot;%&quot;;&quot;-&quot;#,##0.0&quot;%&quot;" sourceLinked="0"/>
            <c:spPr>
              <a:noFill/>
              <a:ln>
                <a:noFill/>
              </a:ln>
              <a:effectLst/>
            </c:spPr>
            <c:txPr>
              <a:bodyPr vertOverflow="overflow" horzOverflow="overflow" wrap="square" lIns="0" tIns="0" rIns="0" bIns="0" anchor="ctr">
                <a:spAutoFit/>
              </a:bodyPr>
              <a:lstStyle/>
              <a:p>
                <a:pPr>
                  <a:defRPr sz="12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Feb22</c:v>
                </c:pt>
                <c:pt idx="1">
                  <c:v>MAT Feb23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3.039264365355379</c:v>
                </c:pt>
                <c:pt idx="1">
                  <c:v>38.168216941130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53-4392-9CBA-C7BF11584867}"/>
            </c:ext>
          </c:extLst>
        </c:ser>
        <c:ser>
          <c:idx val="3"/>
          <c:order val="3"/>
          <c:tx>
            <c:strRef>
              <c:f>Sheet1!$C$1</c:f>
              <c:strCache>
                <c:ptCount val="1"/>
                <c:pt idx="0">
                  <c:v>{价格段1!E1}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953-4392-9CBA-C7BF11584867}"/>
              </c:ext>
            </c:extLst>
          </c:dPt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680-4E46-94EE-74AB127818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0" tIns="0" rIns="0" bIns="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Feb22</c:v>
                </c:pt>
                <c:pt idx="1">
                  <c:v>MAT Feb23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7.670383013461681</c:v>
                </c:pt>
                <c:pt idx="1">
                  <c:v>27.228058742197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53-4392-9CBA-C7BF11584867}"/>
            </c:ext>
          </c:extLst>
        </c:ser>
        <c:ser>
          <c:idx val="4"/>
          <c:order val="4"/>
          <c:tx>
            <c:strRef>
              <c:f>Sheet1!$B$1</c:f>
              <c:strCache>
                <c:ptCount val="1"/>
                <c:pt idx="0">
                  <c:v>{价格段1!F1}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Feb22</c:v>
                </c:pt>
                <c:pt idx="1">
                  <c:v>MAT Feb2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237238711194895E-3</c:v>
                </c:pt>
                <c:pt idx="1">
                  <c:v>2.33821785230122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953-4392-9CBA-C7BF115848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F$1</c:f>
              <c:strCache>
                <c:ptCount val="1"/>
                <c:pt idx="0">
                  <c:v>{Sales price value M!B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688-451A-BE04-6BE95B962AD4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9.268059999999998</c:v>
                </c:pt>
                <c:pt idx="1">
                  <c:v>16.254149999999999</c:v>
                </c:pt>
                <c:pt idx="3">
                  <c:v>26.437809999999999</c:v>
                </c:pt>
                <c:pt idx="4">
                  <c:v>14.599449999999999</c:v>
                </c:pt>
                <c:pt idx="6">
                  <c:v>3.0075000000000001E-2</c:v>
                </c:pt>
                <c:pt idx="7">
                  <c:v>1.5141999999999999E-2</c:v>
                </c:pt>
                <c:pt idx="9">
                  <c:v>3.0075000000000001E-2</c:v>
                </c:pt>
                <c:pt idx="10">
                  <c:v>1.5141999999999999E-2</c:v>
                </c:pt>
                <c:pt idx="12">
                  <c:v>82.572559999999996</c:v>
                </c:pt>
                <c:pt idx="13">
                  <c:v>70.684020000000004</c:v>
                </c:pt>
                <c:pt idx="16">
                  <c:v>2.83951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88-451A-BE04-6BE95B962AD4}"/>
            </c:ext>
          </c:extLst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{Sales price value M!C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688-451A-BE04-6BE95B962AD4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20.020060000000001</c:v>
                </c:pt>
                <c:pt idx="1">
                  <c:v>18.32619</c:v>
                </c:pt>
                <c:pt idx="3">
                  <c:v>4.3091949999999999</c:v>
                </c:pt>
                <c:pt idx="4">
                  <c:v>6.3561500000000004</c:v>
                </c:pt>
                <c:pt idx="6">
                  <c:v>0.12512000000000001</c:v>
                </c:pt>
                <c:pt idx="7">
                  <c:v>1.6556999999999999E-2</c:v>
                </c:pt>
                <c:pt idx="9">
                  <c:v>0.12512000000000001</c:v>
                </c:pt>
                <c:pt idx="10">
                  <c:v>1.6556999999999999E-2</c:v>
                </c:pt>
                <c:pt idx="12">
                  <c:v>13.203250000000001</c:v>
                </c:pt>
                <c:pt idx="13">
                  <c:v>28.217510000000001</c:v>
                </c:pt>
                <c:pt idx="16">
                  <c:v>58.75943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88-451A-BE04-6BE95B962AD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{Sales price value M!D1}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D$2:$D$18</c:f>
              <c:numCache>
                <c:formatCode>0.0_);[Red]\(0.0\)</c:formatCode>
                <c:ptCount val="17"/>
                <c:pt idx="0">
                  <c:v>33</c:v>
                </c:pt>
                <c:pt idx="1">
                  <c:v>38.200000000000003</c:v>
                </c:pt>
                <c:pt idx="3">
                  <c:v>5.9</c:v>
                </c:pt>
                <c:pt idx="4">
                  <c:v>5.6</c:v>
                </c:pt>
                <c:pt idx="6">
                  <c:v>7.9</c:v>
                </c:pt>
                <c:pt idx="7">
                  <c:v>6.5</c:v>
                </c:pt>
                <c:pt idx="9">
                  <c:v>7.9</c:v>
                </c:pt>
                <c:pt idx="10">
                  <c:v>6.5</c:v>
                </c:pt>
                <c:pt idx="12">
                  <c:v>1.6</c:v>
                </c:pt>
                <c:pt idx="13">
                  <c:v>0.7</c:v>
                </c:pt>
                <c:pt idx="16">
                  <c:v>3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88-451A-BE04-6BE95B962AD4}"/>
            </c:ext>
          </c:extLst>
        </c:ser>
        <c:ser>
          <c:idx val="3"/>
          <c:order val="3"/>
          <c:tx>
            <c:strRef>
              <c:f>Sheet1!$C$1</c:f>
              <c:strCache>
                <c:ptCount val="1"/>
                <c:pt idx="0">
                  <c:v>{Sales price value M!E1}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688-451A-BE04-6BE95B962AD4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C$2:$C$18</c:f>
              <c:numCache>
                <c:formatCode>0.0_);[Red]\(0.0\)</c:formatCode>
                <c:ptCount val="17"/>
                <c:pt idx="0">
                  <c:v>27.7</c:v>
                </c:pt>
                <c:pt idx="1">
                  <c:v>27.2</c:v>
                </c:pt>
                <c:pt idx="3">
                  <c:v>63.3</c:v>
                </c:pt>
                <c:pt idx="4">
                  <c:v>73.400000000000006</c:v>
                </c:pt>
                <c:pt idx="6">
                  <c:v>91.9</c:v>
                </c:pt>
                <c:pt idx="7">
                  <c:v>93.4</c:v>
                </c:pt>
                <c:pt idx="9">
                  <c:v>91.9</c:v>
                </c:pt>
                <c:pt idx="10">
                  <c:v>93.4</c:v>
                </c:pt>
                <c:pt idx="12">
                  <c:v>2.6</c:v>
                </c:pt>
                <c:pt idx="13">
                  <c:v>0.4</c:v>
                </c:pt>
                <c:pt idx="16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688-451A-BE04-6BE95B962AD4}"/>
            </c:ext>
          </c:extLst>
        </c:ser>
        <c:ser>
          <c:idx val="4"/>
          <c:order val="4"/>
          <c:tx>
            <c:strRef>
              <c:f>Sheet1!$B$1</c:f>
              <c:strCache>
                <c:ptCount val="1"/>
                <c:pt idx="0">
                  <c:v>{Sales price value M!F1}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F688-451A-BE04-6BE95B962AD4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B$2:$B$18</c:f>
              <c:numCache>
                <c:formatCode>0.0_);[Red]\(0.0\)</c:formatCode>
                <c:ptCount val="17"/>
                <c:pt idx="0">
                  <c:v>0</c:v>
                </c:pt>
                <c:pt idx="1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688-451A-BE04-6BE95B962AD4}"/>
            </c:ext>
          </c:extLst>
        </c:ser>
        <c:ser>
          <c:idx val="5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88-451A-BE04-6BE95B962A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{Sales price volume!B1}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B$2:$B$18</c:f>
              <c:numCache>
                <c:formatCode>0.0_);[Red]\(0.0\)</c:formatCode>
                <c:ptCount val="17"/>
                <c:pt idx="0">
                  <c:v>0</c:v>
                </c:pt>
                <c:pt idx="1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69-4E3C-B6DC-CDA748E388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{Sales price volume!C1}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C$2:$C$18</c:f>
              <c:numCache>
                <c:formatCode>0.0_);[Red]\(0.0\)</c:formatCode>
                <c:ptCount val="17"/>
                <c:pt idx="0">
                  <c:v>16.53030717199897</c:v>
                </c:pt>
                <c:pt idx="1">
                  <c:v>17.023361351117419</c:v>
                </c:pt>
                <c:pt idx="3">
                  <c:v>41.017825672718978</c:v>
                </c:pt>
                <c:pt idx="4">
                  <c:v>56.066995340266907</c:v>
                </c:pt>
                <c:pt idx="6">
                  <c:v>90.13994376561179</c:v>
                </c:pt>
                <c:pt idx="7">
                  <c:v>92.014176428526753</c:v>
                </c:pt>
                <c:pt idx="9">
                  <c:v>90.13994376561179</c:v>
                </c:pt>
                <c:pt idx="10">
                  <c:v>92.014176428526753</c:v>
                </c:pt>
                <c:pt idx="12">
                  <c:v>0.11576162189823661</c:v>
                </c:pt>
                <c:pt idx="13">
                  <c:v>0.10054891506091559</c:v>
                </c:pt>
                <c:pt idx="16">
                  <c:v>0.24506606902167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69-4E3C-B6DC-CDA748E388C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{Sales price volume!D1}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D$2:$D$18</c:f>
              <c:numCache>
                <c:formatCode>0.0_);[Red]\(0.0\)</c:formatCode>
                <c:ptCount val="17"/>
                <c:pt idx="0">
                  <c:v>26.154265145108202</c:v>
                </c:pt>
                <c:pt idx="1">
                  <c:v>31.974724295369999</c:v>
                </c:pt>
                <c:pt idx="3">
                  <c:v>4.7942284291671156</c:v>
                </c:pt>
                <c:pt idx="4">
                  <c:v>5.3349230558117426</c:v>
                </c:pt>
                <c:pt idx="6">
                  <c:v>9.5705549688621758</c:v>
                </c:pt>
                <c:pt idx="7">
                  <c:v>7.8984510126425711</c:v>
                </c:pt>
                <c:pt idx="9">
                  <c:v>9.5705549688621758</c:v>
                </c:pt>
                <c:pt idx="10">
                  <c:v>7.8984510126425711</c:v>
                </c:pt>
                <c:pt idx="12">
                  <c:v>0.81716836663475356</c:v>
                </c:pt>
                <c:pt idx="13">
                  <c:v>0.44512295404239399</c:v>
                </c:pt>
                <c:pt idx="16">
                  <c:v>31.48861826216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69-4E3C-B6DC-CDA748E388C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{Sales price volume!E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21.881210822285642</c:v>
                </c:pt>
                <c:pt idx="1">
                  <c:v>20.76743648660959</c:v>
                </c:pt>
                <c:pt idx="3">
                  <c:v>5.3423850767990171</c:v>
                </c:pt>
                <c:pt idx="4">
                  <c:v>9.3150187610410811</c:v>
                </c:pt>
                <c:pt idx="6">
                  <c:v>0.19517116583933969</c:v>
                </c:pt>
                <c:pt idx="7">
                  <c:v>3.0908300010447979E-2</c:v>
                </c:pt>
                <c:pt idx="9">
                  <c:v>0.19517116583933969</c:v>
                </c:pt>
                <c:pt idx="10">
                  <c:v>3.0908300010447979E-2</c:v>
                </c:pt>
                <c:pt idx="12">
                  <c:v>9.6282685289583991</c:v>
                </c:pt>
                <c:pt idx="13">
                  <c:v>22.566218055439041</c:v>
                </c:pt>
                <c:pt idx="16">
                  <c:v>64.083986513460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69-4E3C-B6DC-CDA748E388C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{Sales price volume!F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35.434216860607187</c:v>
                </c:pt>
                <c:pt idx="1">
                  <c:v>30.234477866902989</c:v>
                </c:pt>
                <c:pt idx="3">
                  <c:v>48.845560821314891</c:v>
                </c:pt>
                <c:pt idx="4">
                  <c:v>29.28306284288028</c:v>
                </c:pt>
                <c:pt idx="6">
                  <c:v>9.433009968669781E-2</c:v>
                </c:pt>
                <c:pt idx="7">
                  <c:v>5.6464258820228479E-2</c:v>
                </c:pt>
                <c:pt idx="9">
                  <c:v>9.433009968669781E-2</c:v>
                </c:pt>
                <c:pt idx="10">
                  <c:v>5.6464258820228479E-2</c:v>
                </c:pt>
                <c:pt idx="12">
                  <c:v>89.438801482508609</c:v>
                </c:pt>
                <c:pt idx="13">
                  <c:v>76.888110075457647</c:v>
                </c:pt>
                <c:pt idx="16">
                  <c:v>4.1823291553521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A69-4E3C-B6DC-CDA748E38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0.0_);[Red]\(0.0\)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G$1</c:f>
              <c:strCache>
                <c:ptCount val="1"/>
                <c:pt idx="0">
                  <c:v>{Sales people_group value M!B1}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EB9-4194-8D49-6F48A65CD172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EB9-4194-8D49-6F48A65CD172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1.085628657</c:v>
                </c:pt>
                <c:pt idx="1">
                  <c:v>0.608052445</c:v>
                </c:pt>
                <c:pt idx="3">
                  <c:v>0.92806662900000003</c:v>
                </c:pt>
                <c:pt idx="4">
                  <c:v>9.7928099000000005E-2</c:v>
                </c:pt>
                <c:pt idx="6">
                  <c:v>3.5261951E-2</c:v>
                </c:pt>
                <c:pt idx="7">
                  <c:v>4.2250630000000003E-3</c:v>
                </c:pt>
                <c:pt idx="9">
                  <c:v>3.5261951E-2</c:v>
                </c:pt>
                <c:pt idx="10">
                  <c:v>4.2250630000000003E-3</c:v>
                </c:pt>
                <c:pt idx="12">
                  <c:v>2.8258952019999999</c:v>
                </c:pt>
                <c:pt idx="13">
                  <c:v>0.45924655399999997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EB9-4194-8D49-6F48A65CD172}"/>
            </c:ext>
          </c:extLst>
        </c:ser>
        <c:ser>
          <c:idx val="0"/>
          <c:order val="1"/>
          <c:tx>
            <c:strRef>
              <c:f>Sheet1!$F$1</c:f>
              <c:strCache>
                <c:ptCount val="1"/>
                <c:pt idx="0">
                  <c:v>{Sales people_group value M!C1}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2.8384192999999999E-2</c:v>
                </c:pt>
                <c:pt idx="1">
                  <c:v>3.0475004999999999E-2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EB9-4194-8D49-6F48A65CD172}"/>
            </c:ext>
          </c:extLst>
        </c:ser>
        <c:ser>
          <c:idx val="1"/>
          <c:order val="2"/>
          <c:tx>
            <c:strRef>
              <c:f>Sheet1!$E$1</c:f>
              <c:strCache>
                <c:ptCount val="1"/>
                <c:pt idx="0">
                  <c:v>{Sales people_group value M!D1}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13.759468780000001</c:v>
                </c:pt>
                <c:pt idx="1">
                  <c:v>13.06939699</c:v>
                </c:pt>
                <c:pt idx="3">
                  <c:v>7.6355271849999999</c:v>
                </c:pt>
                <c:pt idx="4">
                  <c:v>5.1972252970000001</c:v>
                </c:pt>
                <c:pt idx="6">
                  <c:v>3.7604026290000001</c:v>
                </c:pt>
                <c:pt idx="7">
                  <c:v>3.1722390659999999</c:v>
                </c:pt>
                <c:pt idx="9">
                  <c:v>3.7604026290000001</c:v>
                </c:pt>
                <c:pt idx="10">
                  <c:v>3.1722390659999999</c:v>
                </c:pt>
                <c:pt idx="12">
                  <c:v>15.872851969999999</c:v>
                </c:pt>
                <c:pt idx="13">
                  <c:v>13.06690817</c:v>
                </c:pt>
                <c:pt idx="16">
                  <c:v>1.679598592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B9-4194-8D49-6F48A65CD172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{Sales people_group value M!E1}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D$2:$D$18</c:f>
              <c:numCache>
                <c:formatCode>0.0_);[Red]\(0.0\)</c:formatCode>
                <c:ptCount val="17"/>
                <c:pt idx="0">
                  <c:v>53.8</c:v>
                </c:pt>
                <c:pt idx="1">
                  <c:v>54.3</c:v>
                </c:pt>
                <c:pt idx="3">
                  <c:v>41.7</c:v>
                </c:pt>
                <c:pt idx="4">
                  <c:v>44.5</c:v>
                </c:pt>
                <c:pt idx="6">
                  <c:v>35.299999999999997</c:v>
                </c:pt>
                <c:pt idx="7">
                  <c:v>41.9</c:v>
                </c:pt>
                <c:pt idx="9">
                  <c:v>35.299999999999997</c:v>
                </c:pt>
                <c:pt idx="10">
                  <c:v>41.9</c:v>
                </c:pt>
                <c:pt idx="12">
                  <c:v>55.2</c:v>
                </c:pt>
                <c:pt idx="13">
                  <c:v>53.7</c:v>
                </c:pt>
                <c:pt idx="16">
                  <c:v>5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EB9-4194-8D49-6F48A65CD172}"/>
            </c:ext>
          </c:extLst>
        </c:ser>
        <c:ser>
          <c:idx val="3"/>
          <c:order val="4"/>
          <c:tx>
            <c:strRef>
              <c:f>Sheet1!$C$1</c:f>
              <c:strCache>
                <c:ptCount val="1"/>
                <c:pt idx="0">
                  <c:v>{Sales people_group value M!F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C$2:$C$18</c:f>
              <c:numCache>
                <c:formatCode>0.0_);[Red]\(0.0\)</c:formatCode>
                <c:ptCount val="17"/>
                <c:pt idx="0">
                  <c:v>18.899999999999999</c:v>
                </c:pt>
                <c:pt idx="1">
                  <c:v>19</c:v>
                </c:pt>
                <c:pt idx="3">
                  <c:v>36.799999999999997</c:v>
                </c:pt>
                <c:pt idx="4">
                  <c:v>35.4</c:v>
                </c:pt>
                <c:pt idx="6">
                  <c:v>45.4</c:v>
                </c:pt>
                <c:pt idx="7">
                  <c:v>38.6</c:v>
                </c:pt>
                <c:pt idx="9">
                  <c:v>45.4</c:v>
                </c:pt>
                <c:pt idx="10">
                  <c:v>38.6</c:v>
                </c:pt>
                <c:pt idx="12">
                  <c:v>18.5</c:v>
                </c:pt>
                <c:pt idx="13">
                  <c:v>23.9</c:v>
                </c:pt>
                <c:pt idx="16">
                  <c:v>2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EB9-4194-8D49-6F48A65CD172}"/>
            </c:ext>
          </c:extLst>
        </c:ser>
        <c:ser>
          <c:idx val="4"/>
          <c:order val="5"/>
          <c:tx>
            <c:strRef>
              <c:f>Sheet1!$B$1</c:f>
              <c:strCache>
                <c:ptCount val="1"/>
                <c:pt idx="0">
                  <c:v>{Sales people_group value M!G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B$2:$B$18</c:f>
              <c:numCache>
                <c:formatCode>0.0_);[Red]\(0.0\)</c:formatCode>
                <c:ptCount val="17"/>
                <c:pt idx="0">
                  <c:v>12.4</c:v>
                </c:pt>
                <c:pt idx="1">
                  <c:v>12.9</c:v>
                </c:pt>
                <c:pt idx="3">
                  <c:v>13</c:v>
                </c:pt>
                <c:pt idx="4">
                  <c:v>14.8</c:v>
                </c:pt>
                <c:pt idx="6">
                  <c:v>15.5</c:v>
                </c:pt>
                <c:pt idx="7">
                  <c:v>16.3</c:v>
                </c:pt>
                <c:pt idx="9">
                  <c:v>15.5</c:v>
                </c:pt>
                <c:pt idx="10">
                  <c:v>16.3</c:v>
                </c:pt>
                <c:pt idx="12">
                  <c:v>7.6</c:v>
                </c:pt>
                <c:pt idx="13">
                  <c:v>8.9</c:v>
                </c:pt>
                <c:pt idx="16">
                  <c:v>18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EB9-4194-8D49-6F48A65CD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G$1</c:f>
              <c:strCache>
                <c:ptCount val="1"/>
                <c:pt idx="0">
                  <c:v>{Sales people_group volume!B1}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B66-43AF-9529-E9BFD3399A4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B66-43AF-9529-E9BFD3399A47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1.3214086330000001</c:v>
                </c:pt>
                <c:pt idx="1">
                  <c:v>1.012392577</c:v>
                </c:pt>
                <c:pt idx="3">
                  <c:v>0.30059434499999999</c:v>
                </c:pt>
                <c:pt idx="4">
                  <c:v>0.15983209600000001</c:v>
                </c:pt>
                <c:pt idx="6">
                  <c:v>9.3101929999999999E-2</c:v>
                </c:pt>
                <c:pt idx="7">
                  <c:v>4.7788759999999996E-3</c:v>
                </c:pt>
                <c:pt idx="9">
                  <c:v>9.3101929999999999E-2</c:v>
                </c:pt>
                <c:pt idx="10">
                  <c:v>4.7788759999999996E-3</c:v>
                </c:pt>
                <c:pt idx="12">
                  <c:v>0.47336515299999998</c:v>
                </c:pt>
                <c:pt idx="13">
                  <c:v>0.41318206299999999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66-43AF-9529-E9BFD3399A47}"/>
            </c:ext>
          </c:extLst>
        </c:ser>
        <c:ser>
          <c:idx val="0"/>
          <c:order val="1"/>
          <c:tx>
            <c:strRef>
              <c:f>Sheet1!$F$1</c:f>
              <c:strCache>
                <c:ptCount val="1"/>
                <c:pt idx="0">
                  <c:v>{Sales people_group volume!C1}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7.1671783000000003E-2</c:v>
                </c:pt>
                <c:pt idx="1">
                  <c:v>7.8719786999999999E-2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66-43AF-9529-E9BFD3399A47}"/>
            </c:ext>
          </c:extLst>
        </c:ser>
        <c:ser>
          <c:idx val="1"/>
          <c:order val="2"/>
          <c:tx>
            <c:strRef>
              <c:f>Sheet1!$E$1</c:f>
              <c:strCache>
                <c:ptCount val="1"/>
                <c:pt idx="0">
                  <c:v>{Sales people_group volume!D1}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18.21351786</c:v>
                </c:pt>
                <c:pt idx="1">
                  <c:v>17.512709229999999</c:v>
                </c:pt>
                <c:pt idx="3">
                  <c:v>11.49240107</c:v>
                </c:pt>
                <c:pt idx="4">
                  <c:v>7.6920064410000002</c:v>
                </c:pt>
                <c:pt idx="6">
                  <c:v>4.3853637650000001</c:v>
                </c:pt>
                <c:pt idx="7">
                  <c:v>3.8883303100000002</c:v>
                </c:pt>
                <c:pt idx="9">
                  <c:v>4.3853637650000001</c:v>
                </c:pt>
                <c:pt idx="10">
                  <c:v>3.8883303100000002</c:v>
                </c:pt>
                <c:pt idx="12">
                  <c:v>17.410152719999999</c:v>
                </c:pt>
                <c:pt idx="13">
                  <c:v>13.94923468</c:v>
                </c:pt>
                <c:pt idx="16">
                  <c:v>2.356191673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B66-43AF-9529-E9BFD3399A47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{Sales people_group volume!E1}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D$2:$D$18</c:f>
              <c:numCache>
                <c:formatCode>0.0_);[Red]\(0.0\)</c:formatCode>
                <c:ptCount val="17"/>
                <c:pt idx="0">
                  <c:v>55.5</c:v>
                </c:pt>
                <c:pt idx="1">
                  <c:v>55.6</c:v>
                </c:pt>
                <c:pt idx="3">
                  <c:v>49.4</c:v>
                </c:pt>
                <c:pt idx="4">
                  <c:v>49.8</c:v>
                </c:pt>
                <c:pt idx="6">
                  <c:v>37.4</c:v>
                </c:pt>
                <c:pt idx="7">
                  <c:v>45</c:v>
                </c:pt>
                <c:pt idx="9">
                  <c:v>37.4</c:v>
                </c:pt>
                <c:pt idx="10">
                  <c:v>45</c:v>
                </c:pt>
                <c:pt idx="12">
                  <c:v>59.4</c:v>
                </c:pt>
                <c:pt idx="13">
                  <c:v>57.1</c:v>
                </c:pt>
                <c:pt idx="16">
                  <c:v>6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B66-43AF-9529-E9BFD3399A47}"/>
            </c:ext>
          </c:extLst>
        </c:ser>
        <c:ser>
          <c:idx val="3"/>
          <c:order val="4"/>
          <c:tx>
            <c:strRef>
              <c:f>Sheet1!$C$1</c:f>
              <c:strCache>
                <c:ptCount val="1"/>
                <c:pt idx="0">
                  <c:v>{Sales people_group volume!F1}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C$2:$C$18</c:f>
              <c:numCache>
                <c:formatCode>0.0_);[Red]\(0.0\)</c:formatCode>
                <c:ptCount val="17"/>
                <c:pt idx="0">
                  <c:v>15.4</c:v>
                </c:pt>
                <c:pt idx="1">
                  <c:v>15.8</c:v>
                </c:pt>
                <c:pt idx="3">
                  <c:v>29.6</c:v>
                </c:pt>
                <c:pt idx="4">
                  <c:v>31.2</c:v>
                </c:pt>
                <c:pt idx="6">
                  <c:v>44.2</c:v>
                </c:pt>
                <c:pt idx="7">
                  <c:v>36.9</c:v>
                </c:pt>
                <c:pt idx="9">
                  <c:v>44.2</c:v>
                </c:pt>
                <c:pt idx="10">
                  <c:v>36.9</c:v>
                </c:pt>
                <c:pt idx="12">
                  <c:v>17.5</c:v>
                </c:pt>
                <c:pt idx="13">
                  <c:v>22.4</c:v>
                </c:pt>
                <c:pt idx="16">
                  <c:v>2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66-43AF-9529-E9BFD3399A47}"/>
            </c:ext>
          </c:extLst>
        </c:ser>
        <c:ser>
          <c:idx val="4"/>
          <c:order val="5"/>
          <c:tx>
            <c:strRef>
              <c:f>Sheet1!$B$1</c:f>
              <c:strCache>
                <c:ptCount val="1"/>
                <c:pt idx="0">
                  <c:v>{Sales people_group volume!G1}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</c:numCache>
            </c:numRef>
          </c:cat>
          <c:val>
            <c:numRef>
              <c:f>Sheet1!$B$2:$B$18</c:f>
              <c:numCache>
                <c:formatCode>0.0_);[Red]\(0.0\)</c:formatCode>
                <c:ptCount val="17"/>
                <c:pt idx="0">
                  <c:v>9.5</c:v>
                </c:pt>
                <c:pt idx="1">
                  <c:v>10</c:v>
                </c:pt>
                <c:pt idx="3">
                  <c:v>9.1999999999999993</c:v>
                </c:pt>
                <c:pt idx="4">
                  <c:v>11.1</c:v>
                </c:pt>
                <c:pt idx="6">
                  <c:v>13.9</c:v>
                </c:pt>
                <c:pt idx="7">
                  <c:v>14.1</c:v>
                </c:pt>
                <c:pt idx="9">
                  <c:v>13.9</c:v>
                </c:pt>
                <c:pt idx="10">
                  <c:v>14.1</c:v>
                </c:pt>
                <c:pt idx="12">
                  <c:v>5.3</c:v>
                </c:pt>
                <c:pt idx="13">
                  <c:v>6.1</c:v>
                </c:pt>
                <c:pt idx="1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B66-43AF-9529-E9BFD3399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A0F549-6C42-461A-AEEB-F463F4FDCFC9}" type="datetimeFigureOut">
              <a:rPr lang="zh-CN" altLang="en-US" smtClean="0"/>
              <a:t>2024/2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12B510-A158-4E4F-9234-556DB28579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721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zh-CN" altLang="en-US" sz="1100" dirty="0"/>
              <a:t>大盘范围：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eid</a:t>
            </a:r>
            <a:r>
              <a:rPr lang="en-US" altLang="zh-CN" sz="1100" dirty="0"/>
              <a:t>=91357&amp;table=entity_prod_91357_E_meisu</a:t>
            </a:r>
          </a:p>
          <a:p>
            <a:pPr lvl="1" algn="l"/>
            <a:r>
              <a:rPr lang="zh-CN" altLang="en-US" sz="1100" dirty="0"/>
              <a:t>平台：</a:t>
            </a:r>
            <a:r>
              <a:rPr lang="en-US" altLang="zh-CN" sz="1100" dirty="0" err="1"/>
              <a:t>JD+tmall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Tmall</a:t>
            </a:r>
            <a:r>
              <a:rPr lang="zh-CN" altLang="en-US" sz="1100" dirty="0"/>
              <a:t>细分猫超和非猫超部分，猫超</a:t>
            </a:r>
            <a:r>
              <a:rPr lang="en-US" altLang="zh-CN" sz="1100" dirty="0"/>
              <a:t>=</a:t>
            </a:r>
            <a:r>
              <a:rPr lang="zh-CN" altLang="en-US" sz="1100" dirty="0"/>
              <a:t>天猫超市</a:t>
            </a:r>
            <a:r>
              <a:rPr lang="en-US" altLang="zh-CN" sz="1100" dirty="0"/>
              <a:t>+</a:t>
            </a:r>
            <a:r>
              <a:rPr lang="zh-CN" altLang="en-US" sz="1100" dirty="0"/>
              <a:t>猫享自营</a:t>
            </a:r>
            <a:endParaRPr lang="en-US" altLang="zh-CN" sz="1100" dirty="0"/>
          </a:p>
          <a:p>
            <a:pPr lvl="1" algn="l"/>
            <a:r>
              <a:rPr lang="zh-CN" altLang="en-US" sz="1100" dirty="0"/>
              <a:t>渠道：国内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cid</a:t>
            </a:r>
            <a:r>
              <a:rPr lang="en-US" altLang="zh-CN" sz="1100" dirty="0"/>
              <a:t>=</a:t>
            </a:r>
            <a:r>
              <a:rPr lang="en-US" altLang="zh-CN" dirty="0"/>
              <a:t>211104,201284105,7052,31762</a:t>
            </a: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是否无效链接</a:t>
            </a:r>
            <a:r>
              <a:rPr lang="en-US" altLang="zh-CN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=</a:t>
            </a:r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有效链接或者为空</a:t>
            </a:r>
            <a:endParaRPr lang="en-US" altLang="zh-CN" sz="11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不</a:t>
            </a:r>
            <a:r>
              <a:rPr lang="zh-CN" altLang="zh-CN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限制子品类</a:t>
            </a:r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lvl="1" algn="l"/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美素佳儿（金装</a:t>
            </a:r>
            <a:r>
              <a:rPr lang="en-US" altLang="zh-CN" sz="1200" dirty="0"/>
              <a:t>+</a:t>
            </a:r>
            <a:r>
              <a:rPr lang="zh-CN" altLang="en-US" sz="1200" dirty="0"/>
              <a:t>源悦</a:t>
            </a:r>
            <a:r>
              <a:rPr lang="en-US" altLang="zh-CN" sz="1200" dirty="0"/>
              <a:t>+</a:t>
            </a:r>
            <a:r>
              <a:rPr lang="zh-CN" altLang="en-US" sz="1200" dirty="0"/>
              <a:t>皇家）：厂商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eslandcampina</a:t>
            </a:r>
            <a:r>
              <a:rPr lang="en-US" altLang="zh-CN" sz="1200" dirty="0"/>
              <a:t>/</a:t>
            </a:r>
            <a:r>
              <a:rPr lang="zh-CN" altLang="en-US" sz="1200" dirty="0"/>
              <a:t>荷兰皇家菲仕兰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皇家美素佳儿：产品品牌</a:t>
            </a:r>
            <a:r>
              <a:rPr lang="en-US" altLang="zh-CN" sz="1200" dirty="0"/>
              <a:t>=FRISO PRESTIGE/</a:t>
            </a:r>
            <a:r>
              <a:rPr lang="zh-CN" altLang="en-US" sz="1200" dirty="0"/>
              <a:t>皇家美素佳儿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金装：产品品牌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so</a:t>
            </a:r>
            <a:r>
              <a:rPr lang="en-US" altLang="zh-CN" sz="1200" dirty="0"/>
              <a:t>/</a:t>
            </a:r>
            <a:r>
              <a:rPr lang="zh-CN" altLang="en-US" sz="1200" dirty="0"/>
              <a:t>美素佳儿 </a:t>
            </a:r>
            <a:r>
              <a:rPr lang="en-US" altLang="zh-CN" sz="1200" dirty="0"/>
              <a:t>- </a:t>
            </a:r>
            <a:r>
              <a:rPr lang="zh-CN" altLang="en-US" sz="1200" dirty="0"/>
              <a:t>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 做减法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源悦：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211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同上一页</a:t>
            </a:r>
            <a:endParaRPr lang="en-US" altLang="zh-CN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198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2B510-A158-4E4F-9234-556DB285791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5638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2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565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pos="317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orient="horz" pos="2391" userDrawn="1">
          <p15:clr>
            <a:srgbClr val="A4A3A4"/>
          </p15:clr>
        </p15:guide>
        <p15:guide id="9" orient="horz" pos="373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88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00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3830631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53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6B2B6293-845C-4E26-BF81-E2CE060BF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632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pos="317">
          <p15:clr>
            <a:srgbClr val="A4A3A4"/>
          </p15:clr>
        </p15:guide>
        <p15:guide id="7" pos="5443">
          <p15:clr>
            <a:srgbClr val="A4A3A4"/>
          </p15:clr>
        </p15:guide>
        <p15:guide id="8" orient="horz" pos="2391">
          <p15:clr>
            <a:srgbClr val="A4A3A4"/>
          </p15:clr>
        </p15:guide>
        <p15:guide id="9" orient="horz" pos="373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29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179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5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4193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>
          <p15:clr>
            <a:srgbClr val="A4A3A4"/>
          </p15:clr>
        </p15:guide>
        <p15:guide id="11" orient="horz" pos="2822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1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E11D67BA-0635-436E-8DF9-96E153152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146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713">
          <p15:clr>
            <a:srgbClr val="A4A3A4"/>
          </p15:clr>
        </p15:guide>
        <p15:guide id="5" orient="horz" pos="1166">
          <p15:clr>
            <a:srgbClr val="A4A3A4"/>
          </p15:clr>
        </p15:guide>
        <p15:guide id="6" orient="horz" pos="2822">
          <p15:clr>
            <a:srgbClr val="A4A3A4"/>
          </p15:clr>
        </p15:guide>
        <p15:guide id="7" orient="horz" pos="2958">
          <p15:clr>
            <a:srgbClr val="A4A3A4"/>
          </p15:clr>
        </p15:guide>
        <p15:guide id="8" pos="317">
          <p15:clr>
            <a:srgbClr val="A4A3A4"/>
          </p15:clr>
        </p15:guide>
        <p15:guide id="9" pos="5443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76908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75212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50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6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1290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orient="horz" pos="2391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pos="31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6599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16650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687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941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975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4048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2151698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7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0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86566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 userDrawn="1">
          <p15:clr>
            <a:srgbClr val="A4A3A4"/>
          </p15:clr>
        </p15:guide>
        <p15:guide id="11" orient="horz" pos="2822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05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13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0805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713" userDrawn="1">
          <p15:clr>
            <a:srgbClr val="A4A3A4"/>
          </p15:clr>
        </p15:guide>
        <p15:guide id="5" orient="horz" pos="1166" userDrawn="1">
          <p15:clr>
            <a:srgbClr val="A4A3A4"/>
          </p15:clr>
        </p15:guide>
        <p15:guide id="6" orient="horz" pos="2822" userDrawn="1">
          <p15:clr>
            <a:srgbClr val="A4A3A4"/>
          </p15:clr>
        </p15:guide>
        <p15:guide id="7" orient="horz" pos="2958" userDrawn="1">
          <p15:clr>
            <a:srgbClr val="A4A3A4"/>
          </p15:clr>
        </p15:guide>
        <p15:guide id="8" pos="317" userDrawn="1">
          <p15:clr>
            <a:srgbClr val="A4A3A4"/>
          </p15:clr>
        </p15:guide>
        <p15:guide id="9" pos="5443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46127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23440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85258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46524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538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6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1699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2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7" r:id="rId1"/>
    <p:sldLayoutId id="2147493478" r:id="rId2"/>
    <p:sldLayoutId id="2147493479" r:id="rId3"/>
    <p:sldLayoutId id="2147493475" r:id="rId4"/>
    <p:sldLayoutId id="2147493470" r:id="rId5"/>
    <p:sldLayoutId id="2147493469" r:id="rId6"/>
    <p:sldLayoutId id="2147493471" r:id="rId7"/>
    <p:sldLayoutId id="2147493472" r:id="rId8"/>
    <p:sldLayoutId id="2147493473" r:id="rId9"/>
    <p:sldLayoutId id="2147493474" r:id="rId10"/>
    <p:sldLayoutId id="2147493456" r:id="rId11"/>
    <p:sldLayoutId id="2147493477" r:id="rId12"/>
    <p:sldLayoutId id="2147493476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7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DC04F77F-7686-4D4F-A24C-703423A55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2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52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1" r:id="rId1"/>
    <p:sldLayoutId id="2147493482" r:id="rId2"/>
    <p:sldLayoutId id="2147493483" r:id="rId3"/>
    <p:sldLayoutId id="2147493484" r:id="rId4"/>
    <p:sldLayoutId id="2147493485" r:id="rId5"/>
    <p:sldLayoutId id="2147493486" r:id="rId6"/>
    <p:sldLayoutId id="2147493487" r:id="rId7"/>
    <p:sldLayoutId id="2147493488" r:id="rId8"/>
    <p:sldLayoutId id="2147493489" r:id="rId9"/>
    <p:sldLayoutId id="2147493490" r:id="rId10"/>
    <p:sldLayoutId id="2147493491" r:id="rId11"/>
    <p:sldLayoutId id="2147493492" r:id="rId12"/>
    <p:sldLayoutId id="2147493493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tags" Target="../tags/tag80.xml"/><Relationship Id="rId84" Type="http://schemas.openxmlformats.org/officeDocument/2006/relationships/tags" Target="../tags/tag96.xml"/><Relationship Id="rId89" Type="http://schemas.openxmlformats.org/officeDocument/2006/relationships/image" Target="../media/image1.emf"/><Relationship Id="rId16" Type="http://schemas.openxmlformats.org/officeDocument/2006/relationships/tags" Target="../tags/tag28.xml"/><Relationship Id="rId11" Type="http://schemas.openxmlformats.org/officeDocument/2006/relationships/tags" Target="../tags/tag23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74" Type="http://schemas.openxmlformats.org/officeDocument/2006/relationships/tags" Target="../tags/tag86.xml"/><Relationship Id="rId79" Type="http://schemas.openxmlformats.org/officeDocument/2006/relationships/tags" Target="../tags/tag91.xml"/><Relationship Id="rId5" Type="http://schemas.openxmlformats.org/officeDocument/2006/relationships/tags" Target="../tags/tag17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tags" Target="../tags/tag81.xml"/><Relationship Id="rId77" Type="http://schemas.openxmlformats.org/officeDocument/2006/relationships/tags" Target="../tags/tag89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72" Type="http://schemas.openxmlformats.org/officeDocument/2006/relationships/tags" Target="../tags/tag84.xml"/><Relationship Id="rId80" Type="http://schemas.openxmlformats.org/officeDocument/2006/relationships/tags" Target="../tags/tag92.xml"/><Relationship Id="rId85" Type="http://schemas.openxmlformats.org/officeDocument/2006/relationships/slideLayout" Target="../slideLayouts/slideLayout16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tags" Target="../tags/tag82.xml"/><Relationship Id="rId75" Type="http://schemas.openxmlformats.org/officeDocument/2006/relationships/tags" Target="../tags/tag87.xml"/><Relationship Id="rId83" Type="http://schemas.openxmlformats.org/officeDocument/2006/relationships/tags" Target="../tags/tag95.xml"/><Relationship Id="rId88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73" Type="http://schemas.openxmlformats.org/officeDocument/2006/relationships/tags" Target="../tags/tag85.xml"/><Relationship Id="rId78" Type="http://schemas.openxmlformats.org/officeDocument/2006/relationships/tags" Target="../tags/tag90.xml"/><Relationship Id="rId81" Type="http://schemas.openxmlformats.org/officeDocument/2006/relationships/tags" Target="../tags/tag93.xml"/><Relationship Id="rId86" Type="http://schemas.openxmlformats.org/officeDocument/2006/relationships/notesSlide" Target="../notesSlides/notesSlide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6" Type="http://schemas.openxmlformats.org/officeDocument/2006/relationships/tags" Target="../tags/tag88.xml"/><Relationship Id="rId7" Type="http://schemas.openxmlformats.org/officeDocument/2006/relationships/tags" Target="../tags/tag19.xml"/><Relationship Id="rId71" Type="http://schemas.openxmlformats.org/officeDocument/2006/relationships/tags" Target="../tags/tag83.xml"/><Relationship Id="rId2" Type="http://schemas.openxmlformats.org/officeDocument/2006/relationships/tags" Target="../tags/tag14.xml"/><Relationship Id="rId29" Type="http://schemas.openxmlformats.org/officeDocument/2006/relationships/tags" Target="../tags/tag41.xml"/><Relationship Id="rId24" Type="http://schemas.openxmlformats.org/officeDocument/2006/relationships/tags" Target="../tags/tag36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66" Type="http://schemas.openxmlformats.org/officeDocument/2006/relationships/tags" Target="../tags/tag78.xml"/><Relationship Id="rId87" Type="http://schemas.openxmlformats.org/officeDocument/2006/relationships/chart" Target="../charts/chart1.xml"/><Relationship Id="rId61" Type="http://schemas.openxmlformats.org/officeDocument/2006/relationships/tags" Target="../tags/tag73.xml"/><Relationship Id="rId82" Type="http://schemas.openxmlformats.org/officeDocument/2006/relationships/tags" Target="../tags/tag94.xml"/><Relationship Id="rId19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21.xml"/><Relationship Id="rId21" Type="http://schemas.openxmlformats.org/officeDocument/2006/relationships/tags" Target="../tags/tag116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84" Type="http://schemas.openxmlformats.org/officeDocument/2006/relationships/chart" Target="../charts/chart2.xml"/><Relationship Id="rId16" Type="http://schemas.openxmlformats.org/officeDocument/2006/relationships/tags" Target="../tags/tag111.xml"/><Relationship Id="rId11" Type="http://schemas.openxmlformats.org/officeDocument/2006/relationships/tags" Target="../tags/tag106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74" Type="http://schemas.openxmlformats.org/officeDocument/2006/relationships/tags" Target="../tags/tag169.xml"/><Relationship Id="rId79" Type="http://schemas.openxmlformats.org/officeDocument/2006/relationships/tags" Target="../tags/tag174.xml"/><Relationship Id="rId5" Type="http://schemas.openxmlformats.org/officeDocument/2006/relationships/tags" Target="../tags/tag100.xml"/><Relationship Id="rId19" Type="http://schemas.openxmlformats.org/officeDocument/2006/relationships/tags" Target="../tags/tag11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77" Type="http://schemas.openxmlformats.org/officeDocument/2006/relationships/tags" Target="../tags/tag172.xml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tags" Target="../tags/tag167.xml"/><Relationship Id="rId80" Type="http://schemas.openxmlformats.org/officeDocument/2006/relationships/tags" Target="../tags/tag175.xml"/><Relationship Id="rId85" Type="http://schemas.openxmlformats.org/officeDocument/2006/relationships/oleObject" Target="../embeddings/oleObject14.bin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tags" Target="../tags/tag170.xml"/><Relationship Id="rId83" Type="http://schemas.openxmlformats.org/officeDocument/2006/relationships/slideLayout" Target="../slideLayouts/slideLayout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1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Relationship Id="rId10" Type="http://schemas.openxmlformats.org/officeDocument/2006/relationships/tags" Target="../tags/tag105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tags" Target="../tags/tag168.xml"/><Relationship Id="rId78" Type="http://schemas.openxmlformats.org/officeDocument/2006/relationships/tags" Target="../tags/tag173.xml"/><Relationship Id="rId81" Type="http://schemas.openxmlformats.org/officeDocument/2006/relationships/tags" Target="../tags/tag176.xml"/><Relationship Id="rId86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39" Type="http://schemas.openxmlformats.org/officeDocument/2006/relationships/tags" Target="../tags/tag134.xml"/><Relationship Id="rId34" Type="http://schemas.openxmlformats.org/officeDocument/2006/relationships/tags" Target="../tags/tag129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76" Type="http://schemas.openxmlformats.org/officeDocument/2006/relationships/tags" Target="../tags/tag171.xml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2" Type="http://schemas.openxmlformats.org/officeDocument/2006/relationships/tags" Target="../tags/tag97.xml"/><Relationship Id="rId29" Type="http://schemas.openxmlformats.org/officeDocument/2006/relationships/tags" Target="../tags/tag124.xml"/><Relationship Id="rId24" Type="http://schemas.openxmlformats.org/officeDocument/2006/relationships/tags" Target="../tags/tag119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66" Type="http://schemas.openxmlformats.org/officeDocument/2006/relationships/tags" Target="../tags/tag161.xml"/><Relationship Id="rId61" Type="http://schemas.openxmlformats.org/officeDocument/2006/relationships/tags" Target="../tags/tag156.xml"/><Relationship Id="rId82" Type="http://schemas.openxmlformats.org/officeDocument/2006/relationships/tags" Target="../tags/tag17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7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82.xml"/><Relationship Id="rId5" Type="http://schemas.openxmlformats.org/officeDocument/2006/relationships/tags" Target="../tags/tag181.xml"/><Relationship Id="rId10" Type="http://schemas.openxmlformats.org/officeDocument/2006/relationships/chart" Target="../charts/chart3.xml"/><Relationship Id="rId4" Type="http://schemas.openxmlformats.org/officeDocument/2006/relationships/tags" Target="../tags/tag180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tags" Target="../tags/tag224.xml"/><Relationship Id="rId26" Type="http://schemas.openxmlformats.org/officeDocument/2006/relationships/tags" Target="../tags/tag232.xml"/><Relationship Id="rId3" Type="http://schemas.openxmlformats.org/officeDocument/2006/relationships/tags" Target="../tags/tag209.xml"/><Relationship Id="rId21" Type="http://schemas.openxmlformats.org/officeDocument/2006/relationships/tags" Target="../tags/tag227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5" Type="http://schemas.openxmlformats.org/officeDocument/2006/relationships/tags" Target="../tags/tag231.xml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tags" Target="../tags/tag22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24" Type="http://schemas.openxmlformats.org/officeDocument/2006/relationships/tags" Target="../tags/tag230.xml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23" Type="http://schemas.openxmlformats.org/officeDocument/2006/relationships/tags" Target="../tags/tag229.xml"/><Relationship Id="rId28" Type="http://schemas.openxmlformats.org/officeDocument/2006/relationships/oleObject" Target="../embeddings/oleObject17.bin"/><Relationship Id="rId10" Type="http://schemas.openxmlformats.org/officeDocument/2006/relationships/tags" Target="../tags/tag216.xml"/><Relationship Id="rId19" Type="http://schemas.openxmlformats.org/officeDocument/2006/relationships/tags" Target="../tags/tag225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tags" Target="../tags/tag228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26" Type="http://schemas.openxmlformats.org/officeDocument/2006/relationships/tags" Target="../tags/tag257.xml"/><Relationship Id="rId3" Type="http://schemas.openxmlformats.org/officeDocument/2006/relationships/tags" Target="../tags/tag23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tags" Target="../tags/tag256.xml"/><Relationship Id="rId2" Type="http://schemas.openxmlformats.org/officeDocument/2006/relationships/tags" Target="../tags/tag23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29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24" Type="http://schemas.openxmlformats.org/officeDocument/2006/relationships/tags" Target="../tags/tag255.xml"/><Relationship Id="rId5" Type="http://schemas.openxmlformats.org/officeDocument/2006/relationships/tags" Target="../tags/tag236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28" Type="http://schemas.openxmlformats.org/officeDocument/2006/relationships/notesSlide" Target="../notesSlides/notesSlide3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31" Type="http://schemas.openxmlformats.org/officeDocument/2006/relationships/chart" Target="../charts/chart6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26" Type="http://schemas.openxmlformats.org/officeDocument/2006/relationships/tags" Target="../tags/tag282.xml"/><Relationship Id="rId3" Type="http://schemas.openxmlformats.org/officeDocument/2006/relationships/tags" Target="../tags/tag259.xml"/><Relationship Id="rId21" Type="http://schemas.openxmlformats.org/officeDocument/2006/relationships/tags" Target="../tags/tag277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25" Type="http://schemas.openxmlformats.org/officeDocument/2006/relationships/tags" Target="../tags/tag281.xml"/><Relationship Id="rId2" Type="http://schemas.openxmlformats.org/officeDocument/2006/relationships/tags" Target="../tags/tag258.xml"/><Relationship Id="rId16" Type="http://schemas.openxmlformats.org/officeDocument/2006/relationships/tags" Target="../tags/tag272.xml"/><Relationship Id="rId20" Type="http://schemas.openxmlformats.org/officeDocument/2006/relationships/tags" Target="../tags/tag27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tags" Target="../tags/tag280.xml"/><Relationship Id="rId5" Type="http://schemas.openxmlformats.org/officeDocument/2006/relationships/tags" Target="../tags/tag261.xml"/><Relationship Id="rId15" Type="http://schemas.openxmlformats.org/officeDocument/2006/relationships/tags" Target="../tags/tag271.xml"/><Relationship Id="rId23" Type="http://schemas.openxmlformats.org/officeDocument/2006/relationships/tags" Target="../tags/tag279.xml"/><Relationship Id="rId28" Type="http://schemas.openxmlformats.org/officeDocument/2006/relationships/oleObject" Target="../embeddings/oleObject19.bin"/><Relationship Id="rId10" Type="http://schemas.openxmlformats.org/officeDocument/2006/relationships/tags" Target="../tags/tag266.xml"/><Relationship Id="rId19" Type="http://schemas.openxmlformats.org/officeDocument/2006/relationships/tags" Target="../tags/tag275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tags" Target="../tags/tag270.xml"/><Relationship Id="rId22" Type="http://schemas.openxmlformats.org/officeDocument/2006/relationships/tags" Target="../tags/tag278.xml"/><Relationship Id="rId27" Type="http://schemas.openxmlformats.org/officeDocument/2006/relationships/slideLayout" Target="../slideLayouts/slideLayout3.xml"/><Relationship Id="rId30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2A7D9293-B56C-4009-8AB6-663BABC729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85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0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64997EE-F933-487B-B6A4-9D34EA4098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kumimoji="1" lang="en-US" altLang="zh-CN" dirty="0"/>
              <a:t>Data updated to {title!A2}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4A24809-59B4-472C-B680-8CDBF02C9C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kumimoji="1" lang="en-US" altLang="zh-CN">
                <a:latin typeface="+mn-lt"/>
              </a:rPr>
              <a:t>Friesland Monthly Report</a:t>
            </a:r>
            <a:endParaRPr lang="zh-CN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8552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08247" y="1105288"/>
            <a:ext cx="7772400" cy="1204071"/>
          </a:xfrm>
        </p:spPr>
        <p:txBody>
          <a:bodyPr/>
          <a:lstStyle/>
          <a:p>
            <a:r>
              <a:rPr kumimoji="1" lang="zh-CN" altLang="en-US" dirty="0"/>
              <a:t>谢谢</a:t>
            </a:r>
          </a:p>
        </p:txBody>
      </p:sp>
    </p:spTree>
    <p:extLst>
      <p:ext uri="{BB962C8B-B14F-4D97-AF65-F5344CB8AC3E}">
        <p14:creationId xmlns:p14="http://schemas.microsoft.com/office/powerpoint/2010/main" val="1895791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0" name="think-cell 幻灯片" r:id="rId5" imgW="499" imgH="508" progId="TCLayout.ActiveDocument.1">
                  <p:embed/>
                </p:oleObj>
              </mc:Choice>
              <mc:Fallback>
                <p:oleObj name="think-cell 幻灯片" r:id="rId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Total Category vs Friesland Performance Summary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In {title!A2}, value share of total Friesland achieved {summary!K9} ({summary!M9})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53CC126-07E3-4DDF-9FC4-B9B8F1A81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811952"/>
              </p:ext>
            </p:extLst>
          </p:nvPr>
        </p:nvGraphicFramePr>
        <p:xfrm>
          <a:off x="518160" y="992120"/>
          <a:ext cx="7847919" cy="3622653"/>
        </p:xfrm>
        <a:graphic>
          <a:graphicData uri="http://schemas.openxmlformats.org/drawingml/2006/table">
            <a:tbl>
              <a:tblPr/>
              <a:tblGrid>
                <a:gridCol w="1112875">
                  <a:extLst>
                    <a:ext uri="{9D8B030D-6E8A-4147-A177-3AD203B41FA5}">
                      <a16:colId xmlns:a16="http://schemas.microsoft.com/office/drawing/2014/main" val="39807140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63258224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325404189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671126616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66845409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4030610830"/>
                    </a:ext>
                  </a:extLst>
                </a:gridCol>
                <a:gridCol w="402649">
                  <a:extLst>
                    <a:ext uri="{9D8B030D-6E8A-4147-A177-3AD203B41FA5}">
                      <a16:colId xmlns:a16="http://schemas.microsoft.com/office/drawing/2014/main" val="1511521897"/>
                    </a:ext>
                  </a:extLst>
                </a:gridCol>
                <a:gridCol w="1112875">
                  <a:extLst>
                    <a:ext uri="{9D8B030D-6E8A-4147-A177-3AD203B41FA5}">
                      <a16:colId xmlns:a16="http://schemas.microsoft.com/office/drawing/2014/main" val="3795685323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708585787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269363478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0505446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2013110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2779477706"/>
                    </a:ext>
                  </a:extLst>
                </a:gridCol>
              </a:tblGrid>
              <a:tr h="88306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A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B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C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D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E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F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　</a:t>
                      </a:r>
                      <a:endParaRPr lang="en-US" altLang="zh-CN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13" marR="4513" marT="45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H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I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J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K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L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{summary!M1}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1152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,442,18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,880,55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,105,9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8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004269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,004,51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,317,1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,485,05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9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97311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37,66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63,44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20,8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7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8961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6,0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97,9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53,72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58164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1,61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5,54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67,1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62022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4960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</a:t>
                      </a: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</a:t>
                      </a: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36450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1,33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63,99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22,1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08506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2,34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9,50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8,7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43177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8,9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4,49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3,4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70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4,6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2,66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7,06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8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91473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4,34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1,8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6,3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5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17597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7683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5136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1,33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63,99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22,1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68707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2,34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9,50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8,7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46431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8,9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4,49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3,4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962762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4,6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2,66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7,06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8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4385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4,34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1,8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6,3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5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3966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738469"/>
                  </a:ext>
                </a:extLst>
              </a:tr>
              <a:tr h="8689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08809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2,97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1,96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88,7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3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7215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40,42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47,06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4,2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8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943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2,5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4,8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4,47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07926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0,61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6,9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,01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6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3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41258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1,9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7,90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,46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0354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1374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57161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,67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,45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,76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5740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2,8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,78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,91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88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9954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6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5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7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46834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6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5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5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95673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82035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null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null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4662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61423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4,68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4,5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5,68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3065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,1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,6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,56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369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,57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,93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,11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9277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,16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,00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,20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6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98569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,4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,93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,91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151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60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图表 126">
            <a:extLst>
              <a:ext uri="{FF2B5EF4-FFF2-40B4-BE49-F238E27FC236}">
                <a16:creationId xmlns:a16="http://schemas.microsoft.com/office/drawing/2014/main" id="{FCACDF22-D60F-4CBE-9121-DE816D759F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3002869"/>
              </p:ext>
            </p:extLst>
          </p:nvPr>
        </p:nvGraphicFramePr>
        <p:xfrm>
          <a:off x="2237835" y="1781178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3" name="think-cell 幻灯片" r:id="rId88" imgW="499" imgH="508" progId="TCLayout.ActiveDocument.1">
                  <p:embed/>
                </p:oleObj>
              </mc:Choice>
              <mc:Fallback>
                <p:oleObj name="think-cell 幻灯片" r:id="rId8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contributed the most share ({t1!B3}%) in in-border channel. </a:t>
            </a:r>
          </a:p>
          <a:p>
            <a:r>
              <a:rPr lang="en-US" altLang="zh-CN" dirty="0"/>
              <a:t>For Friesland, JD showed importance ({t1!B6}%) and increased by {value YoY GR%!B1}.</a:t>
            </a: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8B9CB02-0C87-48D0-8BC7-1BAF55F2CFD7}" type="datetime'''京''''''东''''''''(''''国内''''''''''自营''''''+国内''''''''POP)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京东(国内自营+国内POP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06080D6-775C-424A-878D-BDE3B45CA596}" type="datetime'''''''国内天猫''(''''旗''''舰''店''''''+''分销''''店'''''''')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天猫(旗舰店+分销店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A59D57B2-F23C-4B0C-A7C4-B2C17A480F26}" type="datetime'''''国''''''''内''''''''''猫''''''''''''''''''''超''''''''''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猫超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3771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1022125"/>
              </p:ext>
            </p:extLst>
          </p:nvPr>
        </p:nvGraphicFramePr>
        <p:xfrm>
          <a:off x="2105536" y="3780788"/>
          <a:ext cx="670560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249244277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{value YoY GR%!A1}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{value YoY GR%!B1}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{value YoY GR%!C1}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{value YoY GR%!D1}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{value YoY GR%!E1}</a:t>
                      </a: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{value YoY GR%!F1}</a:t>
                      </a: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2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0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17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48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0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0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12.1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36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9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0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0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454BD9B7-1D72-4CC7-A4E9-7E4F01116A6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7" name="表格 106">
            <a:extLst>
              <a:ext uri="{FF2B5EF4-FFF2-40B4-BE49-F238E27FC236}">
                <a16:creationId xmlns:a16="http://schemas.microsoft.com/office/drawing/2014/main" id="{8B908B3A-216F-4D29-94A5-4771DFD3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575504"/>
              </p:ext>
            </p:extLst>
          </p:nvPr>
        </p:nvGraphicFramePr>
        <p:xfrm>
          <a:off x="21350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5CF269CF-834B-461B-9D4E-AA132B09E8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E91CB1EA-5D4D-41CD-BB00-B4DB48BCD9D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FFC88AC8-6B2F-4A5F-9BEF-7D0D948211A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6BC1B2AC-8E2E-4C08-856E-075C3F9F04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EB6A1CFD-5DD6-4EB4-A819-8AD3D606144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1807ACB8-D61E-46E8-98B4-A4A5C6AD4F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64453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96875920-BC77-40A1-AED5-838CC3CD09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74D7688-2E71-4B56-B95C-B92B60F3276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D1A2720F-9DD9-446B-8AB4-28EF0EFF28C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D56EF726-543A-46AA-A5DB-66935F703B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648B72D7-9A5E-4DF0-BFD6-47E0072876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2B6CC6E-0280-4DB1-8117-992169756AE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2" name="直接连接符 171">
            <a:extLst>
              <a:ext uri="{FF2B5EF4-FFF2-40B4-BE49-F238E27FC236}">
                <a16:creationId xmlns:a16="http://schemas.microsoft.com/office/drawing/2014/main" id="{5699D39E-C9CE-4C7E-9131-5BF588B6207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80A8EFB1-2C42-410B-AD74-C9D0863BE9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59978" y="223615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2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F10EE2C7-4950-4ABE-BB2B-ABD1E661021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59978" y="285861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2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30B35384-4538-42B3-BD67-2717B3FB6A8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59978" y="310270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2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0197DF45-3617-4A29-B1B2-8BBF638651C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28405" y="225970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3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6A3B9BFF-698A-448F-9124-AFBECCE0870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728405" y="289740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3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98DB5542-AB48-40AB-A88C-9FAF6D48C81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28405" y="311862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3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6B5AB8A7-CCA9-4C46-B2D1-17FB5F0FFA5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56799" y="22427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5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479F83D7-B85A-4899-9DD0-497A929D2C4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56799" y="2865225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5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50102A82-5628-4B3B-8A2F-5C11AC13B7C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56799" y="3109313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5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0A32C08A-DC5A-459F-86E4-29795AA67CC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825226" y="226631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6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2BF3C205-B26B-4315-A301-DD85B57696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825226" y="290401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6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0C9EDB11-6092-4795-85ED-4FE20092CBB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825226" y="312524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6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BD92BDB5-2E6D-42E1-BB66-C3E5B3533A3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56047" y="227372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8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BCF4847-F54D-425C-88EE-D71093FCDB4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56047" y="288094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8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009CD09F-9D14-407E-9C2B-1E5C4DB11F9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56047" y="310979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8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A57086AA-CA0C-4F3F-A655-75CD90DC309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924474" y="230489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9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E135B265-4559-47D6-84A8-F85F2FBFAAA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924474" y="290449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9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188F0C7-E82B-4B53-8DAD-86312DE0660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924474" y="311809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9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A7EB9AE4-85D2-4574-9D10-67897FF9820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016088" y="236363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12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EDCF1A7F-F56F-4DCD-AF46-C5FDB47D20A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016088" y="280321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12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FC9946E4-447A-4685-AC7B-4890523BD4E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016088" y="311588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12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243B7CE1-962F-4AC2-9854-A336D12EFB6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743211" y="22901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14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B0035DFC-7B42-4D4A-A178-EC4B29E9E0A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5591" y="28745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14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1914414F-F516-469D-98A9-3A35F44426E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735591" y="309578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14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EF9C2A9C-1E4B-480B-95BB-A24275FDD06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04018" y="231374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15</a:t>
            </a: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31B512A2-ADFB-4235-B483-449C48FBA4D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104018" y="293620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15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7FAF6813-20AA-4F04-B139-578FB82581D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104018" y="310409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15</a:t>
            </a: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620F9010-6A2B-4035-9CF9-779E48C71D8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213374" y="283956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C18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87ACAC8B-6C7C-4793-A4D7-CE424FB8DBF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213374" y="309237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D18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ED46E34-A41A-4D7D-8238-1AD322F713B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A2D577CF-97DE-4449-8825-30E790A2098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3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0BDA1C6B-6F6B-487B-AF9F-F7BFC8283EC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47214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DB9F13BA-A7BE-4240-95C4-8781FD15A8F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84061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6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DE7189FB-E253-4E96-8C08-B25E08523F1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93220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9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D8A2C84E-13F2-4D2A-8F0E-8603FF1F8DE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EFFC623C-7602-4A14-B3C7-EF893C73EF4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77872D5-E472-4DEC-9DD1-DFD41890B9B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56472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7C14BE03-011D-40A7-81BE-7F5AAAEA1AA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75527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4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5594CEE1-D2ED-4600-9A5C-8280565D0EA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12275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25" name="直接连接符 224">
            <a:extLst>
              <a:ext uri="{FF2B5EF4-FFF2-40B4-BE49-F238E27FC236}">
                <a16:creationId xmlns:a16="http://schemas.microsoft.com/office/drawing/2014/main" id="{C1FFBFF2-7484-4CB8-8509-B8FFF78DB30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直接连接符 225">
            <a:extLst>
              <a:ext uri="{FF2B5EF4-FFF2-40B4-BE49-F238E27FC236}">
                <a16:creationId xmlns:a16="http://schemas.microsoft.com/office/drawing/2014/main" id="{03A9132F-F7E7-4702-A25C-C5993C5F5CD4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接连接符 226">
            <a:extLst>
              <a:ext uri="{FF2B5EF4-FFF2-40B4-BE49-F238E27FC236}">
                <a16:creationId xmlns:a16="http://schemas.microsoft.com/office/drawing/2014/main" id="{D28DF21E-1807-4256-9F7D-9620AE550188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F7C71FF1-B88A-4D1F-BB72-512026912E04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64978" y="294798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接连接符 228">
            <a:extLst>
              <a:ext uri="{FF2B5EF4-FFF2-40B4-BE49-F238E27FC236}">
                <a16:creationId xmlns:a16="http://schemas.microsoft.com/office/drawing/2014/main" id="{326ACBD3-7B90-4DA7-9448-7C16F98F7E7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2863EFAA-B90F-4455-A9ED-FCA2777EBF2D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 bwMode="auto">
          <a:xfrm>
            <a:off x="5864978" y="307022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接连接符 230">
            <a:extLst>
              <a:ext uri="{FF2B5EF4-FFF2-40B4-BE49-F238E27FC236}">
                <a16:creationId xmlns:a16="http://schemas.microsoft.com/office/drawing/2014/main" id="{1A22C6CF-B48D-4791-B8A5-0D654A359256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接连接符 231">
            <a:extLst>
              <a:ext uri="{FF2B5EF4-FFF2-40B4-BE49-F238E27FC236}">
                <a16:creationId xmlns:a16="http://schemas.microsoft.com/office/drawing/2014/main" id="{2E0E5BC9-8E13-4222-ADD0-5B1E7298FDCB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F25C3449-A084-496F-B727-DAB4F94D7287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03041" y="288607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D236F93D-7F50-4D2B-B61E-7A309DA162C7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603041" y="30083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763C11A-B79D-4AFD-9331-0D6EE444EB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603041" y="313055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36" name="直接连接符 235">
            <a:extLst>
              <a:ext uri="{FF2B5EF4-FFF2-40B4-BE49-F238E27FC236}">
                <a16:creationId xmlns:a16="http://schemas.microsoft.com/office/drawing/2014/main" id="{028BD6A1-BC1D-4381-992E-DCAF1238C1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直接连接符 236">
            <a:extLst>
              <a:ext uri="{FF2B5EF4-FFF2-40B4-BE49-F238E27FC236}">
                <a16:creationId xmlns:a16="http://schemas.microsoft.com/office/drawing/2014/main" id="{BA9E3F9D-0597-4265-B599-9DC70964E1D5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直接连接符 237">
            <a:extLst>
              <a:ext uri="{FF2B5EF4-FFF2-40B4-BE49-F238E27FC236}">
                <a16:creationId xmlns:a16="http://schemas.microsoft.com/office/drawing/2014/main" id="{45974A5B-EBDB-46D6-A558-E67BD5D272A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直接连接符 238">
            <a:extLst>
              <a:ext uri="{FF2B5EF4-FFF2-40B4-BE49-F238E27FC236}">
                <a16:creationId xmlns:a16="http://schemas.microsoft.com/office/drawing/2014/main" id="{AE1D1DEF-2986-462F-BCDF-630ABBF2DA58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65367" y="2940775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直接连接符 239">
            <a:extLst>
              <a:ext uri="{FF2B5EF4-FFF2-40B4-BE49-F238E27FC236}">
                <a16:creationId xmlns:a16="http://schemas.microsoft.com/office/drawing/2014/main" id="{77314DEF-C830-4258-9FBB-5F59F32237E6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97F6E4F0-CA32-4AFB-A331-96BA832144A6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>
            <a:off x="8065367" y="3063012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A300A11-770A-4369-8C3A-864569C6C90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直接连接符 244">
            <a:extLst>
              <a:ext uri="{FF2B5EF4-FFF2-40B4-BE49-F238E27FC236}">
                <a16:creationId xmlns:a16="http://schemas.microsoft.com/office/drawing/2014/main" id="{A38CE21A-326C-4EAC-958A-3E6041350350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4C1F1EF-F1DD-4788-BE66-0E32CBA7AC1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803430" y="2878862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2DD367CF-849F-4BB6-A981-547AF8D17097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7803430" y="30011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B00652B9-42C8-4B79-87AE-EC1841CE90E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803430" y="3123337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AB79ADA5-7A15-427C-98D0-BFA5909A6D3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8208955" y="219150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1!B18}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954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图表 90">
            <a:extLst>
              <a:ext uri="{FF2B5EF4-FFF2-40B4-BE49-F238E27FC236}">
                <a16:creationId xmlns:a16="http://schemas.microsoft.com/office/drawing/2014/main" id="{8A5D61C3-5396-45F5-B29E-E0FFE91EE7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5660114"/>
              </p:ext>
            </p:extLst>
          </p:nvPr>
        </p:nvGraphicFramePr>
        <p:xfrm>
          <a:off x="2246575" y="1813561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6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6" name="think-cell 幻灯片" r:id="rId85" imgW="499" imgH="508" progId="TCLayout.ActiveDocument.1">
                  <p:embed/>
                </p:oleObj>
              </mc:Choice>
              <mc:Fallback>
                <p:oleObj name="think-cell 幻灯片" r:id="rId8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({t2!B3}%) was the primary in-border channel. </a:t>
            </a:r>
          </a:p>
          <a:p>
            <a:r>
              <a:rPr lang="en-US" altLang="zh-CN" dirty="0"/>
              <a:t>For Friesland, JD showed importance ({t2!B6}%) and decreased by {volume YoY GR%!B1}.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3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9DFEA9A-4868-4726-BE0B-4687929E4AC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47976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9055A0C-DF21-4D3A-BC9D-BB74455B3F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84823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6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A6FAE18-0154-42E2-876B-5D06A83CC64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4744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9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2CC708AA-7218-4819-8BCF-9228125D2D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E08E8750-478B-4868-8924-5100605BE23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E80089D5-BCD1-4FC3-9B3C-9FB0C4F700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57996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>
                <a:ea typeface="Microsoft YaHei" panose="020B0503020204020204" pitchFamily="34" charset="-122"/>
              </a:rPr>
              <a:t>YoY GR</a:t>
            </a:r>
            <a:r>
              <a:rPr kumimoji="1" lang="en-US" altLang="zh-CN" sz="900" dirty="0">
                <a:ea typeface="Microsoft YaHei" panose="020B0503020204020204" pitchFamily="34" charset="-122"/>
              </a:rPr>
              <a:t>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73" name="文本占位符 8">
            <a:extLst>
              <a:ext uri="{FF2B5EF4-FFF2-40B4-BE49-F238E27FC236}">
                <a16:creationId xmlns:a16="http://schemas.microsoft.com/office/drawing/2014/main" id="{C2261F95-02D6-479B-B537-2C441CC1759B}"/>
              </a:ext>
            </a:extLst>
          </p:cNvPr>
          <p:cNvSpPr txBox="1">
            <a:spLocks/>
          </p:cNvSpPr>
          <p:nvPr/>
        </p:nvSpPr>
        <p:spPr>
          <a:xfrm>
            <a:off x="503238" y="16567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(Ton)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424243"/>
              </p:ext>
            </p:extLst>
          </p:nvPr>
        </p:nvGraphicFramePr>
        <p:xfrm>
          <a:off x="2105536" y="3780788"/>
          <a:ext cx="6705600" cy="58165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chemeClr val="bg1">
                      <a:alpha val="0"/>
                    </a:schemeClr>
                  </a:outerShdw>
                </a:effectLst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035238712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{volume YoY GR%!A1}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{volume YoY GR%!B1}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{volume YoY GR%!C1}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{volume YoY GR%!D1}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{volume YoY GR%!E1}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{volume YoY GR%!F1}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9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1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11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56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56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56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5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.8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36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30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30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30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B9CB02-0C87-48D0-8BC7-1BAF55F2CFD7}" type="datetime'''京''''''东''''''''(''''国内''''''''''自营''''''+国内''''''''POP)'">
              <a:rPr lang="zh-CN" altLang="en-US" sz="900" smtClean="0">
                <a:latin typeface="Arial" panose="020B0604020202020204" pitchFamily="34" charset="0"/>
              </a:rPr>
              <a:pPr/>
              <a:t>京东(国内自营+国内POP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06080D6-775C-424A-878D-BDE3B45CA596}" type="datetime'''''''国内天猫''(''''旗''''舰''店''''''+''分销''''店'''''''')'''">
              <a:rPr lang="zh-CN" altLang="en-US" sz="900" smtClean="0">
                <a:latin typeface="Arial" panose="020B0604020202020204" pitchFamily="34" charset="0"/>
              </a:rPr>
              <a:pPr/>
              <a:t>国内天猫(旗舰店+分销店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59D57B2-F23C-4B0C-A7C4-B2C17A480F26}" type="datetime'''''国''''''''内''''''''''猫''''''''''''''''''''超'''''''''''''">
              <a:rPr lang="zh-CN" altLang="en-US" sz="900" smtClean="0">
                <a:latin typeface="Arial" panose="020B0604020202020204" pitchFamily="34" charset="0"/>
              </a:rPr>
              <a:pPr/>
              <a:t>国内猫超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BB268AA2-7F06-4578-85E6-BF11017D696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8444E54-8776-4273-95C0-F8460A98CC9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FC16EDD-45BB-4582-A565-63713884841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3EAD43A-58D4-4084-9FD8-1EDF2264CC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D66C173-26ED-42F5-B88E-74B56F2734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963C382B-132B-4324-979D-B4F094AE37D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484625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5F6796D-9DAA-4F8F-84E2-85C7A6F244C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D3D56A7-1381-400C-9728-5BC8C5A29A9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F290B57D-13B9-4A46-93D4-7F05DF5DCB6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383CD6A-F3A7-4833-85B7-232C1C2D828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EBFA126B-27F0-46DE-86B0-FAF649CD6F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E9FD96C-C01F-4E96-9201-04181FF8A39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D4818CEA-8B55-423F-873C-6E235559BD8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359978" y="223615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2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D03B85CA-97B3-4E65-92C2-564E0CB6283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359978" y="285861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2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F67B4086-0164-4401-8F30-1E8B0C36712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359978" y="312556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2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ACB4687B-3526-4937-A902-629413E5F4C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728405" y="225970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3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E26F60A1-0027-4876-97CC-087B1FDBEA9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28405" y="289740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3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1899D9F6-848A-4C9A-A515-BAE983A3EAA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728405" y="313386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3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D80A9F50-294B-494D-BB9C-FE0BC73DFB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56799" y="22427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5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C89886C1-C2EC-483E-88BA-BAEF1ECE618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463523" y="291229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5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8E9911DB-A58D-43DE-9ADE-D838EA1BCC7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463523" y="3138897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5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68B396D8-7A3E-4681-8F78-EF6FA31A0C8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825226" y="226631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6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63F6144-1F3E-4B15-B5B0-EFCEC2EC74A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825226" y="290401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6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463062BD-CBC2-4115-B2AB-D4E7E58B53C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825226" y="314810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6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46E4927-285E-4A8E-8468-4907B658F88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556047" y="227372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8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D663B695-61D8-45E4-BD4D-BF3C48DDAA6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562771" y="2928010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8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5FDA1E70-9ACC-4013-88C6-A69A1A73E83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556047" y="313265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8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0D894B85-0881-4DD2-B2E3-11522D58463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924474" y="230489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9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344A05F6-10A2-4BAA-B259-A9209054098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24474" y="290449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9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46683F2-F151-432A-B8AA-44F44E03B05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924474" y="314095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9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31BB1985-8975-4F3F-8CC3-CDCEACE5E78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023708" y="224933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12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CBD0CA1-BF21-4847-BB77-69C5708EFA6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3708" y="279559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12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4F9C71C3-C89B-4D64-8912-FAAFA74C54E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23708" y="313874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12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8AAB10F-8660-47B8-A562-5FC0F272E7B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743211" y="22901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14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ABE31B84-EF77-4F45-8374-EE26C8B9EE7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750831" y="28745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14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F1E7AA85-0E02-4AF2-BC64-BED79DC886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750831" y="313388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14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A6F01860-F491-4520-8EC2-B18B59DE025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7119258" y="231374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15}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46581ED2-C15D-4C69-BEFC-E73B2BBA7A0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119258" y="293620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15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01F797F1-B847-4B62-A6AE-5CB87D11173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119258" y="313457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15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2280D719-A558-4C97-A70D-483D7A5B093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213374" y="283956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C18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DFB53203-D05F-45DE-A55F-9CC2EFE1093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213374" y="313047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D18}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FE25FEF4-36CE-4672-B17D-06579FE2707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77051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4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5A4CAE6B-16B3-402D-94B9-6A2B29BAA6A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13799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39" name="表格 238">
            <a:extLst>
              <a:ext uri="{FF2B5EF4-FFF2-40B4-BE49-F238E27FC236}">
                <a16:creationId xmlns:a16="http://schemas.microsoft.com/office/drawing/2014/main" id="{EE60F833-C8E1-4E87-86DE-0A5DAF8E3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520288"/>
              </p:ext>
            </p:extLst>
          </p:nvPr>
        </p:nvGraphicFramePr>
        <p:xfrm>
          <a:off x="21350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BF65BA5C-CE4D-4CB5-B6D7-ADB9ECAA3329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5951944" y="297548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直接连接符 251">
            <a:extLst>
              <a:ext uri="{FF2B5EF4-FFF2-40B4-BE49-F238E27FC236}">
                <a16:creationId xmlns:a16="http://schemas.microsoft.com/office/drawing/2014/main" id="{AE17F883-FAD9-448C-BC1C-454D7248BB0B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5890031" y="309772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接连接符 253">
            <a:extLst>
              <a:ext uri="{FF2B5EF4-FFF2-40B4-BE49-F238E27FC236}">
                <a16:creationId xmlns:a16="http://schemas.microsoft.com/office/drawing/2014/main" id="{2A45B1CE-2F88-4C5D-A148-DEF2DE6129D5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828119" y="328028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直接连接符 259">
            <a:extLst>
              <a:ext uri="{FF2B5EF4-FFF2-40B4-BE49-F238E27FC236}">
                <a16:creationId xmlns:a16="http://schemas.microsoft.com/office/drawing/2014/main" id="{A0A632C5-0514-4156-B448-00375EB9CA76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 bwMode="auto">
          <a:xfrm>
            <a:off x="5874156" y="2975486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接连接符 260">
            <a:extLst>
              <a:ext uri="{FF2B5EF4-FFF2-40B4-BE49-F238E27FC236}">
                <a16:creationId xmlns:a16="http://schemas.microsoft.com/office/drawing/2014/main" id="{B4F6E41D-3C8B-4BDA-B981-1E0707FBDC51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951944" y="297548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直接连接符 263">
            <a:extLst>
              <a:ext uri="{FF2B5EF4-FFF2-40B4-BE49-F238E27FC236}">
                <a16:creationId xmlns:a16="http://schemas.microsoft.com/office/drawing/2014/main" id="{C0FD02BC-6A21-49D8-AFD3-51BC598DB679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74156" y="3097723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直接连接符 266">
            <a:extLst>
              <a:ext uri="{FF2B5EF4-FFF2-40B4-BE49-F238E27FC236}">
                <a16:creationId xmlns:a16="http://schemas.microsoft.com/office/drawing/2014/main" id="{FC2C3652-FB69-4AB9-8C3B-AFB04967299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890031" y="309772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直接连接符 267">
            <a:extLst>
              <a:ext uri="{FF2B5EF4-FFF2-40B4-BE49-F238E27FC236}">
                <a16:creationId xmlns:a16="http://schemas.microsoft.com/office/drawing/2014/main" id="{7B9E6214-1B81-4E84-8C23-86A82606DFD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828119" y="328028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67BB9729-EBE9-4EC8-9D61-99E8F2FF370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612219" y="291357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D67319D7-AD27-482D-85AB-8A90DC7254D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612219" y="3035811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34D1DD8D-151B-4B6F-A6CA-19EAC9AB506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12219" y="3158048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72" name="直接连接符 271">
            <a:extLst>
              <a:ext uri="{FF2B5EF4-FFF2-40B4-BE49-F238E27FC236}">
                <a16:creationId xmlns:a16="http://schemas.microsoft.com/office/drawing/2014/main" id="{BF200CD6-6099-4BED-B48B-4C82462E1DDD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接连接符 272">
            <a:extLst>
              <a:ext uri="{FF2B5EF4-FFF2-40B4-BE49-F238E27FC236}">
                <a16:creationId xmlns:a16="http://schemas.microsoft.com/office/drawing/2014/main" id="{83A78729-BBA4-4739-A318-446FBBDCE64A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接连接符 273">
            <a:extLst>
              <a:ext uri="{FF2B5EF4-FFF2-40B4-BE49-F238E27FC236}">
                <a16:creationId xmlns:a16="http://schemas.microsoft.com/office/drawing/2014/main" id="{1AAE70E2-AA3D-4CEB-9697-1595F7C50146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接连接符 274">
            <a:extLst>
              <a:ext uri="{FF2B5EF4-FFF2-40B4-BE49-F238E27FC236}">
                <a16:creationId xmlns:a16="http://schemas.microsoft.com/office/drawing/2014/main" id="{744344D7-0B55-46E8-9C5B-81E8D75F1D8F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8049362" y="297013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直接连接符 275">
            <a:extLst>
              <a:ext uri="{FF2B5EF4-FFF2-40B4-BE49-F238E27FC236}">
                <a16:creationId xmlns:a16="http://schemas.microsoft.com/office/drawing/2014/main" id="{491C2F75-8155-4D0F-9CDA-3DA30BBFA753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直接连接符 276">
            <a:extLst>
              <a:ext uri="{FF2B5EF4-FFF2-40B4-BE49-F238E27FC236}">
                <a16:creationId xmlns:a16="http://schemas.microsoft.com/office/drawing/2014/main" id="{17353C7C-F982-4E9E-9387-F7330CFE5687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49362" y="309237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直接连接符 277">
            <a:extLst>
              <a:ext uri="{FF2B5EF4-FFF2-40B4-BE49-F238E27FC236}">
                <a16:creationId xmlns:a16="http://schemas.microsoft.com/office/drawing/2014/main" id="{5C33D133-DF55-4870-A497-7734251D920E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接连接符 278">
            <a:extLst>
              <a:ext uri="{FF2B5EF4-FFF2-40B4-BE49-F238E27FC236}">
                <a16:creationId xmlns:a16="http://schemas.microsoft.com/office/drawing/2014/main" id="{8D8ABF5E-DC89-48C1-A64F-B7C06B5CF8A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3F9C3E3-53B7-4B4F-9078-40A99C9D3C7A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7787425" y="290822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D2CF006B-5486-45B9-A9D9-300E16A386D4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87425" y="303046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D62CC839-39F0-4A9F-BEB3-C0E6DA2A0E2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787425" y="31527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A126E5C2-6F1D-40BF-BBA3-DA9C9DFD7984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8222403" y="219150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t2!B18}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41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94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7" name="think-cell 幻灯片" r:id="rId8" imgW="499" imgH="508" progId="TCLayout.ActiveDocument.1">
                  <p:embed/>
                </p:oleObj>
              </mc:Choice>
              <mc:Fallback>
                <p:oleObj name="think-cell 幻灯片" r:id="rId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1" name="表格 240">
            <a:extLst>
              <a:ext uri="{FF2B5EF4-FFF2-40B4-BE49-F238E27FC236}">
                <a16:creationId xmlns:a16="http://schemas.microsoft.com/office/drawing/2014/main" id="{C1F70740-334A-442C-8F85-EBDBCBDA4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388849"/>
              </p:ext>
            </p:extLst>
          </p:nvPr>
        </p:nvGraphicFramePr>
        <p:xfrm>
          <a:off x="1379696" y="1188879"/>
          <a:ext cx="134112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112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SP [290,390) showed importance ({</a:t>
            </a:r>
            <a:r>
              <a:rPr lang="zh-CN" altLang="en-US" dirty="0"/>
              <a:t>价格段</a:t>
            </a:r>
            <a:r>
              <a:rPr lang="en-US" altLang="zh-CN" dirty="0"/>
              <a:t>1!D3}%) and downtrend in Avg Price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C4091A-B98D-41CB-BAD1-D9670E18E56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74919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{</a:t>
            </a:r>
            <a:r>
              <a:rPr lang="zh-CN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价格段</a:t>
            </a:r>
            <a:r>
              <a:rPr lang="en-US" altLang="zh-CN" sz="1050" b="1" dirty="0">
                <a:solidFill>
                  <a:prstClr val="black"/>
                </a:solidFill>
                <a:latin typeface="Arial" panose="020B0604020202020204" pitchFamily="34" charset="0"/>
              </a:rPr>
              <a:t>1</a:t>
            </a: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!A2}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0372571-4042-4CCE-9589-C1093DD8834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01692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{</a:t>
            </a:r>
            <a:r>
              <a:rPr lang="zh-CN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价格段</a:t>
            </a:r>
            <a:r>
              <a:rPr lang="en-US" altLang="zh-CN" sz="1050" b="1" dirty="0">
                <a:solidFill>
                  <a:prstClr val="black"/>
                </a:solidFill>
                <a:latin typeface="Arial" panose="020B0604020202020204" pitchFamily="34" charset="0"/>
              </a:rPr>
              <a:t>1</a:t>
            </a: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!A3}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81998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</a:t>
            </a:r>
            <a:r>
              <a:rPr lang="zh-CN" alt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价格段</a:t>
            </a: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!G2}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93780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{</a:t>
            </a:r>
            <a:r>
              <a:rPr lang="zh-CN" alt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价格段</a:t>
            </a: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!G3}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527459"/>
              </p:ext>
            </p:extLst>
          </p:nvPr>
        </p:nvGraphicFramePr>
        <p:xfrm>
          <a:off x="4457700" y="2041134"/>
          <a:ext cx="4270034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1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价格段</a:t>
                      </a:r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2!A1}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价格段</a:t>
                      </a:r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2!B1}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zh-CN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价格段</a:t>
                      </a:r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2!C1}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02199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210,290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290,390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4EBB3BBA-7894-44A9-8886-EB0EF05900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0247033"/>
              </p:ext>
            </p:extLst>
          </p:nvPr>
        </p:nvGraphicFramePr>
        <p:xfrm>
          <a:off x="801687" y="1761094"/>
          <a:ext cx="2497137" cy="245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FD22BDBB-BD8C-44FD-AD38-28954F171C86}"/>
              </a:ext>
            </a:extLst>
          </p:cNvPr>
          <p:cNvSpPr/>
          <p:nvPr/>
        </p:nvSpPr>
        <p:spPr>
          <a:xfrm>
            <a:off x="4106062" y="3646129"/>
            <a:ext cx="283172" cy="160413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AB80FFA-7776-41F7-8663-1CE25E30970A}"/>
              </a:ext>
            </a:extLst>
          </p:cNvPr>
          <p:cNvSpPr/>
          <p:nvPr/>
        </p:nvSpPr>
        <p:spPr>
          <a:xfrm>
            <a:off x="4106062" y="3341665"/>
            <a:ext cx="283172" cy="160413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A2F7448-0753-44A4-A950-F1E10D181A37}"/>
              </a:ext>
            </a:extLst>
          </p:cNvPr>
          <p:cNvSpPr/>
          <p:nvPr/>
        </p:nvSpPr>
        <p:spPr>
          <a:xfrm>
            <a:off x="4106062" y="3020424"/>
            <a:ext cx="283172" cy="160413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B3C81BD4-D7D1-4A91-A907-B67631C79778}"/>
              </a:ext>
            </a:extLst>
          </p:cNvPr>
          <p:cNvSpPr/>
          <p:nvPr/>
        </p:nvSpPr>
        <p:spPr>
          <a:xfrm>
            <a:off x="4106062" y="2724350"/>
            <a:ext cx="283172" cy="160413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DF84831-4D79-4986-962A-78045D84C59D}"/>
              </a:ext>
            </a:extLst>
          </p:cNvPr>
          <p:cNvSpPr/>
          <p:nvPr/>
        </p:nvSpPr>
        <p:spPr>
          <a:xfrm>
            <a:off x="4106062" y="2428276"/>
            <a:ext cx="283172" cy="160413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8DB8A994-B218-4706-BDD7-2ADD1FEBA5A7}"/>
              </a:ext>
            </a:extLst>
          </p:cNvPr>
          <p:cNvSpPr txBox="1">
            <a:spLocks/>
          </p:cNvSpPr>
          <p:nvPr/>
        </p:nvSpPr>
        <p:spPr>
          <a:xfrm>
            <a:off x="251143" y="1563100"/>
            <a:ext cx="876458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152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4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increased by {price value YoY GR%!B3} in SP and {price value YoY GR%!B2}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30899" y="2855914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7C59A09-9EC6-4D57-A0C6-0AC9081A35C9}" type="datetime'''''''''''''''''''''''''''''''''''''''''''''''''''''''0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863623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59297844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alue YoY GR%!A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alue YoY GR%!B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alue YoY GR%!C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alue YoY GR%!D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alue YoY GR%!E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alue YoY GR%!F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3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0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0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0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9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9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6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83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6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83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6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2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1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8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1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8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1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54" name="文本占位符 8">
            <a:extLst>
              <a:ext uri="{FF2B5EF4-FFF2-40B4-BE49-F238E27FC236}">
                <a16:creationId xmlns:a16="http://schemas.microsoft.com/office/drawing/2014/main" id="{672B285F-E340-4657-BB21-1EFD5C20C31C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89069BF-1982-47ED-AF95-9300E648C2BF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FDD0844-D26E-4402-9A65-E8E16387CCE2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F7FC3143-9936-43F4-8C75-676DBC9D29FA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46EAA4D8-441E-4A1D-ADF4-4F06F10803BB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E54006F2-67A2-4FFB-8FB6-9427615BB99E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4EC9F72-81F3-45BF-A42C-2DAAD49EC9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37DDF95-352E-4E15-AD6B-D2A36CD5D0A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3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2ACC8D7-B2BF-440F-B01D-E99E9DFD10B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64B23A9-3907-47AF-9807-ED5BD09E798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6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34EEC26-8780-4C90-BA26-4D00AE7D1F6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5506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9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29A209-0D94-456C-9169-4D715F644C7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93522" y="285431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1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1F9EC181-EFC5-4D31-B03C-CA1BC4BCC83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6960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B2FFCCF-3AE2-4089-8A68-95771FC35C9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25959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C5D29101-D4B9-4155-B583-C5937CEF34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8758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C3740B7-7782-4EA6-B9B8-39833737AD5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0031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4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FEA2758-3660-4CBD-BB5D-AD47BB177D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16669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3C83D39-B980-4CCA-A3B7-C501DD9DCA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9184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7C0A603-848B-4254-B18D-651DD7D0D19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84453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183DD75-6385-41E3-9E70-8596893E25E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910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F845F77-AF6C-4D6F-B6AB-6B6B9E40AAA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03781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C756BE1-2987-46F9-98D1-79C8CF35276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B69BFB3-1942-4EF0-85D7-CDF9122E6D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604C01ED-DC96-43EC-9531-00F65C3C2E0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1A0EBE4-381E-45CD-AEA3-F636086FF0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7610502-49D4-4E1B-B6BD-06E1B9284A6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085909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876E7E0-9FCA-426F-B23D-4F59EFF085A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97731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2BCF2C8-93A4-4F68-A534-C2976E7BEE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8246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1872556-8EBE-467A-A46D-C61C63A892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8" name="表格 77">
            <a:extLst>
              <a:ext uri="{FF2B5EF4-FFF2-40B4-BE49-F238E27FC236}">
                <a16:creationId xmlns:a16="http://schemas.microsoft.com/office/drawing/2014/main" id="{8B8FC972-751D-4418-8780-D729994FB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239128"/>
              </p:ext>
            </p:extLst>
          </p:nvPr>
        </p:nvGraphicFramePr>
        <p:xfrm>
          <a:off x="215794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39" name="图表 38">
            <a:extLst>
              <a:ext uri="{FF2B5EF4-FFF2-40B4-BE49-F238E27FC236}">
                <a16:creationId xmlns:a16="http://schemas.microsoft.com/office/drawing/2014/main" id="{D9C1A8B4-A227-4801-BD2F-0C2EC82F54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6806322"/>
              </p:ext>
            </p:extLst>
          </p:nvPr>
        </p:nvGraphicFramePr>
        <p:xfrm>
          <a:off x="2249764" y="1763209"/>
          <a:ext cx="6411912" cy="136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223204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67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05980"/>
            <a:ext cx="7527925" cy="386158"/>
          </a:xfrm>
        </p:spPr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reported positive growth as {price volume YoY GR%!B3} in SP and {price volume YoY GR%!B2}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85125" y="2906322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2EE07FE-1E7E-42AC-88FB-7C937175F982}" type="datetime'''''''''''''''''''''''''''''''''''''''''''''0''''''''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文本占位符 8">
            <a:extLst>
              <a:ext uri="{FF2B5EF4-FFF2-40B4-BE49-F238E27FC236}">
                <a16:creationId xmlns:a16="http://schemas.microsoft.com/office/drawing/2014/main" id="{20FA1FB9-F9D4-40B5-A9CF-E17BEFB905D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olume ton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37" name="表格 36">
            <a:extLst>
              <a:ext uri="{FF2B5EF4-FFF2-40B4-BE49-F238E27FC236}">
                <a16:creationId xmlns:a16="http://schemas.microsoft.com/office/drawing/2014/main" id="{A91EA9F2-DD07-4B60-B2A2-950D3B2ED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95576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10343625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olume YoY GR%!A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olume YoY GR%!B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olume YoY GR%!C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olume YoY GR%!D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olume YoY GR%!E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price volume YoY GR%!F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3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5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3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5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2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0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0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5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0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5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7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80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7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80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7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5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7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6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7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6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45" name="文本占位符 8">
            <a:extLst>
              <a:ext uri="{FF2B5EF4-FFF2-40B4-BE49-F238E27FC236}">
                <a16:creationId xmlns:a16="http://schemas.microsoft.com/office/drawing/2014/main" id="{BC70194A-5C02-4127-9432-9C697CF0F435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EE2A7F76-5A55-4AFB-A637-B8A5662CC284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9E8F0411-2FA7-4F78-802E-3E861A22A7D3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0BCFF83-2560-49FC-9ED9-C02E924B8197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3769802-9145-489B-A757-0711C08183A1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9E84E4F5-A426-41A2-8F79-232807617663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E8FF0E5-805F-42A1-89F3-0D6FEAECC81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82CDC8F-8F75-4B4A-ABA1-0BAFEF6B1A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3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F534BB4-E0AA-4B45-952D-E0B1DEF66BA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81506F3-47D0-46E1-8AD9-516EAF3151D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6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A32CC13-AE1D-434E-8AE9-E26D6E61E1E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9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153E1E0-EFCD-406A-9D16-71BFF6C052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708762" y="288479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1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1DFE7FC-62DE-4467-851A-F878803583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67A714A-DE68-4042-A4A8-04AF85F7BA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03588" y="166178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FEF2DD0-CDBA-455F-A621-09A8C2EBF9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9520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D4A6BA0-C8DC-4BD9-BDC9-99D080389A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30419" y="164576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4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26147CF-72A2-47FC-858D-C8BA4E962D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07867" y="16428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1468478-4A60-4A50-8C19-DF33A7458F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246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FABF7FB-55CA-41E1-BB9C-C130DEA6F24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57557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E344AB68-8979-4802-A578-5D95A82A971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2376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4E20CA1-562C-44A2-84BC-6CFC8060935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97057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4EC423E-2A6B-4A86-9A02-601420FCA7C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8000364-C408-498D-8574-3A2BF464D1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F023624-7585-45A3-B714-F2D121BD629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AD3B8A8D-81A6-45EF-8A86-AE939F3A468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39FAB9B-2BB9-4590-A825-793DE9E522F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12805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AB2C90E-215D-48D9-9FCE-D72E84C7BEC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24627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FEB477-2DED-45BE-88AF-F2BA4CE1277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21294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1E42AA3-A1BE-4551-9D40-4CF5D799F1E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3" name="表格 82">
            <a:extLst>
              <a:ext uri="{FF2B5EF4-FFF2-40B4-BE49-F238E27FC236}">
                <a16:creationId xmlns:a16="http://schemas.microsoft.com/office/drawing/2014/main" id="{CF0D3AB4-47BE-4CE3-8F67-B2CCCE56A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763473"/>
              </p:ext>
            </p:extLst>
          </p:nvPr>
        </p:nvGraphicFramePr>
        <p:xfrm>
          <a:off x="215794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57" name="图表 56">
            <a:extLst>
              <a:ext uri="{FF2B5EF4-FFF2-40B4-BE49-F238E27FC236}">
                <a16:creationId xmlns:a16="http://schemas.microsoft.com/office/drawing/2014/main" id="{426EC1C8-79A9-40E9-B99E-F9CC3C6E68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371250"/>
              </p:ext>
            </p:extLst>
          </p:nvPr>
        </p:nvGraphicFramePr>
        <p:xfrm>
          <a:off x="2088921" y="1804988"/>
          <a:ext cx="6759515" cy="131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3699330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7" name="think-cell 幻灯片" r:id="rId29" imgW="499" imgH="508" progId="TCLayout.ActiveDocument.1">
                  <p:embed/>
                </p:oleObj>
              </mc:Choice>
              <mc:Fallback>
                <p:oleObj name="think-cell 幻灯片" r:id="rId29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({</a:t>
            </a:r>
            <a:r>
              <a:rPr lang="en-US" altLang="zh-CN" dirty="0" err="1"/>
              <a:t>peo</a:t>
            </a:r>
            <a:r>
              <a:rPr lang="en-US" altLang="zh-CN" dirty="0"/>
              <a:t> value YoY GR%!B1}) and S3 ({</a:t>
            </a:r>
            <a:r>
              <a:rPr lang="en-US" altLang="zh-CN" dirty="0" err="1"/>
              <a:t>peo</a:t>
            </a:r>
            <a:r>
              <a:rPr lang="en-US" altLang="zh-CN" dirty="0"/>
              <a:t> value YoY GR%!B3}) outperformed the market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68999" y="2886075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789EC1-4E8B-4AE6-9A60-E535016986C4}" type="datetime'''''''''''''''''''''''''''''''''''0'''''''''">
              <a:rPr lang="zh-CN" altLang="en-US" sz="800" b="1" smtClean="0">
                <a:latin typeface="Arial" panose="020B0604020202020204" pitchFamily="34" charset="0"/>
              </a:rPr>
              <a:pPr/>
              <a:t>0</a:t>
            </a:fld>
            <a:r>
              <a:rPr lang="en-US" altLang="zh-CN" sz="800" b="1" dirty="0">
                <a:latin typeface="Arial" panose="020B0604020202020204" pitchFamily="34" charset="0"/>
              </a:rPr>
              <a:t>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2803212"/>
              </p:ext>
            </p:extLst>
          </p:nvPr>
        </p:nvGraphicFramePr>
        <p:xfrm>
          <a:off x="1219199" y="3590908"/>
          <a:ext cx="7581599" cy="88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881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2142069"/>
                    </a:ext>
                  </a:extLst>
                </a:gridCol>
              </a:tblGrid>
              <a:tr h="1764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alue YoY GR%!A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alue YoY GR%!B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alue YoY GR%!C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alue YoY GR%!D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alue YoY GR%!E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alue YoY GR%!F1}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1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1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1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5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7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3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3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3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5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351443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C4519AD-4232-47D8-BBA4-3315E1229E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EC5C47B-C28F-4B34-AEC2-E062480561B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A58189E-A832-4FE4-A4EC-FAD80F60274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3D97FD-E767-4C38-BEB4-B95C397D24C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663735A-F43C-46CC-903F-D1BFEF32DF5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81041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4574BD1-7DEB-470E-931F-67B5E7269B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08103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416F904-2FA8-4CE7-A272-16DCDE96D0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993734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7881A2-E0F4-4B72-88C2-471E6C736FE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05555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3ED2C8F8-7DB0-464C-9889-813A1822197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16389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40BE204-0612-4C5C-9F65-0E61B46609C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28211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4C10EE75-520B-4817-A5D6-CEDB2336BE8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1294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CE8154FD-BD2C-491F-8FBD-76E32A641B7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2476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4" name="表格 73">
            <a:extLst>
              <a:ext uri="{FF2B5EF4-FFF2-40B4-BE49-F238E27FC236}">
                <a16:creationId xmlns:a16="http://schemas.microsoft.com/office/drawing/2014/main" id="{87BA8880-5A9F-407C-9785-B10EDEC0FB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19022"/>
              </p:ext>
            </p:extLst>
          </p:nvPr>
        </p:nvGraphicFramePr>
        <p:xfrm>
          <a:off x="216556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EE66D90B-2145-4A88-B617-8A1D8199574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4536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3F6BC42-6558-42A3-A178-9BF0746D42D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92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3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A60467A-B738-41DE-A8C8-8373977FAA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500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C1737E6D-10A2-4627-8BC7-180DE5702C1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109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6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887DFBC-392B-4058-8611-EE0C0BD85D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9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2333193-F970-41CA-9DAA-0BBF38BCB31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16382" y="283907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1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FC9EFAD-06C0-4216-8787-8E7EA8E26EB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6C8A3EEC-E565-4200-8B12-8D5E3ADA852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0531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374E337-6952-4A86-A1C4-29333CF6772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0282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D8D8C7AF-734D-49A6-95B6-5AF11305B57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3079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4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B6B172F0-3D69-43B5-984D-7918D35FECC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18955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1!E1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0" name="图表 39">
            <a:extLst>
              <a:ext uri="{FF2B5EF4-FFF2-40B4-BE49-F238E27FC236}">
                <a16:creationId xmlns:a16="http://schemas.microsoft.com/office/drawing/2014/main" id="{F379FDEB-942F-4825-BA8A-37BD2A5A8E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0883590"/>
              </p:ext>
            </p:extLst>
          </p:nvPr>
        </p:nvGraphicFramePr>
        <p:xfrm>
          <a:off x="2094348" y="1798903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</p:spTree>
    <p:extLst>
      <p:ext uri="{BB962C8B-B14F-4D97-AF65-F5344CB8AC3E}">
        <p14:creationId xmlns:p14="http://schemas.microsoft.com/office/powerpoint/2010/main" val="1389487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7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 showed a positive growth by {</a:t>
            </a:r>
            <a:r>
              <a:rPr lang="en-US" altLang="zh-CN" dirty="0" err="1"/>
              <a:t>peo</a:t>
            </a:r>
            <a:r>
              <a:rPr lang="en-US" altLang="zh-CN" dirty="0"/>
              <a:t> volume YoY GR%!B1}.</a:t>
            </a: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4655015"/>
              </p:ext>
            </p:extLst>
          </p:nvPr>
        </p:nvGraphicFramePr>
        <p:xfrm>
          <a:off x="1219199" y="3590908"/>
          <a:ext cx="7578771" cy="91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341058194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olume YoY GR%!A1}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olume YoY GR%!B1}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 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olume YoY GR%!C1}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 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olume YoY GR%!D1}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 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olume YoY GR%!E1}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{ </a:t>
                      </a:r>
                      <a:r>
                        <a:rPr lang="en-US" altLang="zh-CN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peo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volume YoY GR%!F1}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.9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9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9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9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0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5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9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9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9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9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9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9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9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5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37" name="文本占位符 8">
            <a:extLst>
              <a:ext uri="{FF2B5EF4-FFF2-40B4-BE49-F238E27FC236}">
                <a16:creationId xmlns:a16="http://schemas.microsoft.com/office/drawing/2014/main" id="{E63CCC06-89D2-4997-8B11-673B146A59FE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ton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CFF1456-BFF9-4465-8A21-A4F89E6568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024244" y="2894603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.00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15549A9-2F2C-448C-8C73-55DD1656AD7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FBCFB36-CA04-4203-BFFD-E6EB8BC38A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DF854FC-DC22-49EC-AB41-DBBDC8249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BEBED2D-3CAB-4982-BEBC-40D726EC2C3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147D759-5298-4966-87A9-F7AA310D8E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94489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6ACA06B-760F-4F16-92EA-0D0384CB16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21551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D52EE7F-C333-4D51-A49E-66B3DABF331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07182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47BD351A-7730-48FC-9B8D-6E1047777BD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19003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0C886D4-B556-4A39-9081-5DCE420D46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23113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72072B8-8BD5-4E01-97C7-D6682AD21A5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41659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5AC255F-C3BD-4F57-9C37-138FC2624AA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818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2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6240770-392A-41F2-AB29-424335B2529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4000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{title!B1}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3" name="表格 62">
            <a:extLst>
              <a:ext uri="{FF2B5EF4-FFF2-40B4-BE49-F238E27FC236}">
                <a16:creationId xmlns:a16="http://schemas.microsoft.com/office/drawing/2014/main" id="{25FB4354-002F-4A4C-9D27-0FD419ECB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771439"/>
              </p:ext>
            </p:extLst>
          </p:nvPr>
        </p:nvGraphicFramePr>
        <p:xfrm>
          <a:off x="21731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87B8405-E611-46EB-9762-62EC9A205B4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52989" y="165808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4CFD991-41D8-47FE-808D-E468DDA1844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24546" y="166491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3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7F21E70-C6D7-4A66-B132-3B0589FC1CD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10249" y="1655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059B470-FD5E-45F0-ACB4-E3EAC45277B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8710" y="165583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6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1F4B399-3BEE-4611-B05F-697E93897F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85543" y="1650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9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6B71BCC-9B13-4414-B2D4-250F93D500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24002" y="286955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1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C5A5A79-7B68-4454-BC3C-00890B1E731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00083" y="165808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2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5E8F4CA-B920-422E-92DB-709668FDFAE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20558" y="165591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9C0A3CD-183F-4DE2-8EE4-EB06EC8A584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18064" y="16572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8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20E275A-1C11-49E2-A067-29186FE4BD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46034" y="164821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4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4F81302-0F34-45A7-9BDD-BB9A182F480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04791" y="164259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{t2!E15}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0" name="图表 39">
            <a:extLst>
              <a:ext uri="{FF2B5EF4-FFF2-40B4-BE49-F238E27FC236}">
                <a16:creationId xmlns:a16="http://schemas.microsoft.com/office/drawing/2014/main" id="{25EEF0F6-32E9-463E-A2B9-3CB7D0B351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7138487"/>
              </p:ext>
            </p:extLst>
          </p:nvPr>
        </p:nvGraphicFramePr>
        <p:xfrm>
          <a:off x="2107151" y="1828730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2" name="矩形 41">
            <a:extLst>
              <a:ext uri="{FF2B5EF4-FFF2-40B4-BE49-F238E27FC236}">
                <a16:creationId xmlns:a16="http://schemas.microsoft.com/office/drawing/2014/main" id="{E26939B1-6AB8-4DD0-A8EF-0C9CA322BCE6}"/>
              </a:ext>
            </a:extLst>
          </p:cNvPr>
          <p:cNvSpPr/>
          <p:nvPr/>
        </p:nvSpPr>
        <p:spPr>
          <a:xfrm>
            <a:off x="1002331" y="4358166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701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1&quot; g=&quot;87&quot; b=&quot;1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6F2769-7194-4217-93D3-3AF3A4742282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sharepoint/v3/field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21417</TotalTime>
  <Words>3751</Words>
  <Application>Microsoft Office PowerPoint</Application>
  <PresentationFormat>全屏显示(16:9)</PresentationFormat>
  <Paragraphs>1017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Microsoft Yahei</vt:lpstr>
      <vt:lpstr>Narrow</vt:lpstr>
      <vt:lpstr>Poppins</vt:lpstr>
      <vt:lpstr>Source Han Serif SC</vt:lpstr>
      <vt:lpstr>等线</vt:lpstr>
      <vt:lpstr>思源黑体 CN Bold</vt:lpstr>
      <vt:lpstr>思源黑体 CN Light</vt:lpstr>
      <vt:lpstr>思源黑体 CN Regular</vt:lpstr>
      <vt:lpstr>Microsoft YaHei</vt:lpstr>
      <vt:lpstr>Microsoft YaHei</vt:lpstr>
      <vt:lpstr>Arial</vt:lpstr>
      <vt:lpstr>Office Theme</vt:lpstr>
      <vt:lpstr>1_Office Theme</vt:lpstr>
      <vt:lpstr>think-cell 幻灯片</vt:lpstr>
      <vt:lpstr>Friesland Monthly Report</vt:lpstr>
      <vt:lpstr>Total Category vs Friesland Performance Summary</vt:lpstr>
      <vt:lpstr>IMF &amp; Friesland Channel Value Importance In B2C In-border</vt:lpstr>
      <vt:lpstr>IMF &amp; Friesland Channel Volume Importance In B2C In-border</vt:lpstr>
      <vt:lpstr>IMF &amp; Friesland Price Tier Value Importance In B2C In-border</vt:lpstr>
      <vt:lpstr>IMF &amp; Friesland Price Tier Value Importance In B2C In-border</vt:lpstr>
      <vt:lpstr>IMF &amp; Friesland Price Tier Volume Importance In B2C In-border</vt:lpstr>
      <vt:lpstr>IMF &amp; Friesland Stage Value Importance In B2C In-border</vt:lpstr>
      <vt:lpstr>IMF &amp; Friesland Stage Volume Importance In B2C In-border</vt:lpstr>
      <vt:lpstr>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zeng.xiangyan</cp:lastModifiedBy>
  <cp:revision>377</cp:revision>
  <dcterms:created xsi:type="dcterms:W3CDTF">2010-04-12T23:12:02Z</dcterms:created>
  <dcterms:modified xsi:type="dcterms:W3CDTF">2024-02-08T08:54:5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